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12.xml" ContentType="application/vnd.openxmlformats-officedocument.presentationml.notesSlide+xml"/>
  <Override PartName="/ppt/tags/tag8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5.xml" ContentType="application/vnd.openxmlformats-officedocument.presentationml.notesSlide+xml"/>
  <Override PartName="/ppt/tags/tag86.xml" ContentType="application/vnd.openxmlformats-officedocument.presentationml.tags+xml"/>
  <Override PartName="/ppt/notesSlides/notesSlide1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1"/>
  </p:notesMasterIdLst>
  <p:handoutMasterIdLst>
    <p:handoutMasterId r:id="rId32"/>
  </p:handoutMasterIdLst>
  <p:sldIdLst>
    <p:sldId id="302" r:id="rId5"/>
    <p:sldId id="2147472731" r:id="rId6"/>
    <p:sldId id="2146846056" r:id="rId7"/>
    <p:sldId id="2146847090" r:id="rId8"/>
    <p:sldId id="2146846047" r:id="rId9"/>
    <p:sldId id="2147472742" r:id="rId10"/>
    <p:sldId id="2147472686" r:id="rId11"/>
    <p:sldId id="2146846828" r:id="rId12"/>
    <p:sldId id="2104" r:id="rId13"/>
    <p:sldId id="2147472740" r:id="rId14"/>
    <p:sldId id="2147472675" r:id="rId15"/>
    <p:sldId id="2147472732" r:id="rId16"/>
    <p:sldId id="2147472727" r:id="rId17"/>
    <p:sldId id="2147472715" r:id="rId18"/>
    <p:sldId id="2147472687" r:id="rId19"/>
    <p:sldId id="2146846857" r:id="rId20"/>
    <p:sldId id="2147472739" r:id="rId21"/>
    <p:sldId id="2147472741" r:id="rId22"/>
    <p:sldId id="2147472723" r:id="rId23"/>
    <p:sldId id="2147472733" r:id="rId24"/>
    <p:sldId id="2147472701" r:id="rId25"/>
    <p:sldId id="2147472734" r:id="rId26"/>
    <p:sldId id="2147472735" r:id="rId27"/>
    <p:sldId id="2147472729" r:id="rId28"/>
    <p:sldId id="2146846880" r:id="rId29"/>
    <p:sldId id="2147472721" r:id="rId30"/>
  </p:sldIdLst>
  <p:sldSz cx="9144000" cy="5143500" type="screen16x9"/>
  <p:notesSz cx="7023100" cy="9309100"/>
  <p:custDataLst>
    <p:tags r:id="rId3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Intro" id="{9A17259A-7DED-4CC4-B394-740563B1C65D}">
          <p14:sldIdLst>
            <p14:sldId id="302"/>
            <p14:sldId id="2147472731"/>
            <p14:sldId id="2146846056"/>
            <p14:sldId id="2146847090"/>
            <p14:sldId id="2146846047"/>
            <p14:sldId id="2147472742"/>
          </p14:sldIdLst>
        </p14:section>
        <p14:section name="MomCare Explained" id="{54C919DF-FA7D-9A41-8D8C-06FC1C3D6614}">
          <p14:sldIdLst>
            <p14:sldId id="2147472686"/>
            <p14:sldId id="2146846828"/>
            <p14:sldId id="2104"/>
            <p14:sldId id="2147472740"/>
            <p14:sldId id="2147472675"/>
            <p14:sldId id="2147472732"/>
            <p14:sldId id="2147472727"/>
            <p14:sldId id="2147472715"/>
          </p14:sldIdLst>
        </p14:section>
        <p14:section name="Segmentation" id="{B286F0D3-F5B0-604D-8D37-F8D15AC1086A}">
          <p14:sldIdLst>
            <p14:sldId id="2147472687"/>
            <p14:sldId id="2146846857"/>
            <p14:sldId id="2147472739"/>
            <p14:sldId id="2147472741"/>
            <p14:sldId id="2147472723"/>
            <p14:sldId id="2147472733"/>
            <p14:sldId id="2147472701"/>
            <p14:sldId id="2147472734"/>
            <p14:sldId id="2147472735"/>
            <p14:sldId id="2147472729"/>
            <p14:sldId id="2146846880"/>
            <p14:sldId id="2147472721"/>
          </p14:sldIdLst>
        </p14:section>
        <p14:section name="Appendix" id="{050ECECE-8638-D54B-9ABC-FD0671C45A0D}">
          <p14:sldIdLst/>
        </p14:section>
      </p14:sectionLst>
    </p:ext>
    <p:ext uri="{EFAFB233-063F-42B5-8137-9DF3F51BA10A}">
      <p15:sldGuideLst xmlns:p15="http://schemas.microsoft.com/office/powerpoint/2012/main">
        <p15:guide id="4" orient="horz" pos="1665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EF1F6E-8839-FAD1-C30A-0F2379BB1C29}" name="Sarah Qian" initials="SQ" userId="S::s.qian@pharmaccess.org::a85f56da-f126-4b9e-98a5-16e88f2ebc76" providerId="AD"/>
  <p188:author id="{20E519AF-5CC7-A3DE-AD27-0AE9CA11C52F}" name="Fatih Cakmak" initials="FC" userId="S::f.cakmak@Pharmaccess.org::5f3eaa42-e067-46f4-998d-958d7e36d5f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phie van der Wansem" initials="SvdW" lastIdx="2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E4E5"/>
    <a:srgbClr val="00A79D"/>
    <a:srgbClr val="FFFFFF"/>
    <a:srgbClr val="000000"/>
    <a:srgbClr val="F26522"/>
    <a:srgbClr val="FFFD78"/>
    <a:srgbClr val="EC008C"/>
    <a:srgbClr val="FBB040"/>
    <a:srgbClr val="FFD579"/>
    <a:srgbClr val="D6A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99"/>
  </p:normalViewPr>
  <p:slideViewPr>
    <p:cSldViewPr snapToGrid="0">
      <p:cViewPr varScale="1">
        <p:scale>
          <a:sx n="137" d="100"/>
          <a:sy n="137" d="100"/>
        </p:scale>
        <p:origin x="920" y="192"/>
      </p:cViewPr>
      <p:guideLst>
        <p:guide orient="horz" pos="1665"/>
        <p:guide pos="288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8/10/relationships/authors" Target="authors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pharmaccess.sharepoint.com/sites/momcareteam/Shared%20Documents/General/MomCare%20Presentations/20230315%20Results%20Summary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pharmaccess.sharepoint.com/sites/InnovativecareModels/Shared%20Documents/General/03.%20Presentations/20230426%20Graphs%20for%20WEF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https://pharmaccess.sharepoint.com/sites/InnovativecareModels/Shared%20Documents/General/03.%20Presentations/20230426%20Graphs%20for%20WEF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312288613303268E-2"/>
          <c:y val="0.16438356164383561"/>
          <c:w val="0.94137542277339337"/>
          <c:h val="0.784735812133072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A1C-FC4C-BD10-BD71C5CE8908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A1C-FC4C-BD10-BD71C5CE8908}"/>
              </c:ext>
            </c:extLst>
          </c:dPt>
          <c:dLbls>
            <c:dLbl>
              <c:idx val="0"/>
              <c:layout>
                <c:manualLayout>
                  <c:x val="5.471956224350193E-3"/>
                  <c:y val="-0.130831519350979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A1C-FC4C-BD10-BD71C5CE8908}"/>
                </c:ext>
              </c:extLst>
            </c:dLbl>
            <c:dLbl>
              <c:idx val="1"/>
              <c:layout>
                <c:manualLayout>
                  <c:x val="0"/>
                  <c:y val="-0.239392330728141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A1C-FC4C-BD10-BD71C5CE8908}"/>
                </c:ext>
              </c:extLst>
            </c:dLbl>
            <c:dLbl>
              <c:idx val="2"/>
              <c:layout>
                <c:manualLayout>
                  <c:x val="0"/>
                  <c:y val="-8.512720156555772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A1C-FC4C-BD10-BD71C5CE8908}"/>
                </c:ext>
              </c:extLst>
            </c:dLbl>
            <c:dLbl>
              <c:idx val="3"/>
              <c:layout>
                <c:manualLayout>
                  <c:x val="0"/>
                  <c:y val="-6.457925636007827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A1C-FC4C-BD10-BD71C5CE89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1"/>
                </a:pPr>
                <a:endParaRPr lang="en-N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342</c:v>
                </c:pt>
                <c:pt idx="1">
                  <c:v>524</c:v>
                </c:pt>
                <c:pt idx="2">
                  <c:v>19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A1C-FC4C-BD10-BD71C5CE89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18179208"/>
        <c:axId val="1"/>
      </c:barChart>
      <c:catAx>
        <c:axId val="1018179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2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18179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312288613303268E-2"/>
          <c:y val="0.16438356164383561"/>
          <c:w val="0.94137542277339337"/>
          <c:h val="0.784735812133072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C37-2549-97F6-3F5AEE3AE5F6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C37-2549-97F6-3F5AEE3AE5F6}"/>
              </c:ext>
            </c:extLst>
          </c:dPt>
          <c:dLbls>
            <c:dLbl>
              <c:idx val="0"/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NL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37-2549-97F6-3F5AEE3AE5F6}"/>
                </c:ext>
              </c:extLst>
            </c:dLbl>
            <c:dLbl>
              <c:idx val="1"/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NL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37-2549-97F6-3F5AEE3AE5F6}"/>
                </c:ext>
              </c:extLst>
            </c:dLbl>
            <c:dLbl>
              <c:idx val="2"/>
              <c:layout>
                <c:manualLayout>
                  <c:x val="0"/>
                  <c:y val="-0.1602486395114101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C37-2549-97F6-3F5AEE3AE5F6}"/>
                </c:ext>
              </c:extLst>
            </c:dLbl>
            <c:dLbl>
              <c:idx val="3"/>
              <c:layout>
                <c:manualLayout>
                  <c:x val="0"/>
                  <c:y val="-0.1426968073618070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>
                      <a:solidFill>
                        <a:schemeClr val="tx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C37-2549-97F6-3F5AEE3AE5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1"/>
                </a:pPr>
                <a:endParaRPr lang="en-NL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9.600000000000001</c:v>
                </c:pt>
                <c:pt idx="1">
                  <c:v>21.3</c:v>
                </c:pt>
                <c:pt idx="2">
                  <c:v>3.5</c:v>
                </c:pt>
                <c:pt idx="3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37-2549-97F6-3F5AEE3AE5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18180520"/>
        <c:axId val="1"/>
      </c:barChart>
      <c:catAx>
        <c:axId val="1018180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.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18180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987012987012988E-2"/>
          <c:y val="3.4736138944555781E-2"/>
          <c:w val="0.97402597402597402"/>
          <c:h val="0.930527722110888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14.262427720735829</c:v>
                </c:pt>
                <c:pt idx="1">
                  <c:v>14.320078859536792</c:v>
                </c:pt>
                <c:pt idx="2">
                  <c:v>15.933569182704545</c:v>
                </c:pt>
                <c:pt idx="3">
                  <c:v>12.837525683981355</c:v>
                </c:pt>
                <c:pt idx="4">
                  <c:v>9.0188856002283444</c:v>
                </c:pt>
                <c:pt idx="5">
                  <c:v>2.9047369120847577</c:v>
                </c:pt>
                <c:pt idx="6">
                  <c:v>8.3074962724186463</c:v>
                </c:pt>
                <c:pt idx="7">
                  <c:v>23.246032677131481</c:v>
                </c:pt>
                <c:pt idx="8">
                  <c:v>29.2440937835517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A2-402F-BDFA-2CC73C0DF5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02995071"/>
        <c:axId val="1"/>
      </c:barChart>
      <c:lineChart>
        <c:grouping val="standard"/>
        <c:varyColors val="0"/>
        <c:ser>
          <c:idx val="1"/>
          <c:order val="1"/>
          <c:spPr>
            <a:ln w="1270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3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0A2-402F-BDFA-2CC73C0DF5A2}"/>
              </c:ext>
            </c:extLst>
          </c:dPt>
          <c:dPt>
            <c:idx val="1"/>
            <c:marker>
              <c:symbol val="diamond"/>
              <c:size val="3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0A2-402F-BDFA-2CC73C0DF5A2}"/>
              </c:ext>
            </c:extLst>
          </c:dPt>
          <c:dPt>
            <c:idx val="2"/>
            <c:marker>
              <c:symbol val="diamond"/>
              <c:size val="3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0A2-402F-BDFA-2CC73C0DF5A2}"/>
              </c:ext>
            </c:extLst>
          </c:dPt>
          <c:dPt>
            <c:idx val="3"/>
            <c:marker>
              <c:symbol val="diamond"/>
              <c:size val="3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0A2-402F-BDFA-2CC73C0DF5A2}"/>
              </c:ext>
            </c:extLst>
          </c:dPt>
          <c:dPt>
            <c:idx val="4"/>
            <c:marker>
              <c:symbol val="diamond"/>
              <c:size val="3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0A2-402F-BDFA-2CC73C0DF5A2}"/>
              </c:ext>
            </c:extLst>
          </c:dPt>
          <c:dPt>
            <c:idx val="5"/>
            <c:marker>
              <c:symbol val="diamond"/>
              <c:size val="3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0A2-402F-BDFA-2CC73C0DF5A2}"/>
              </c:ext>
            </c:extLst>
          </c:dPt>
          <c:dPt>
            <c:idx val="6"/>
            <c:marker>
              <c:symbol val="diamond"/>
              <c:size val="3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0A2-402F-BDFA-2CC73C0DF5A2}"/>
              </c:ext>
            </c:extLst>
          </c:dPt>
          <c:dPt>
            <c:idx val="7"/>
            <c:marker>
              <c:symbol val="diamond"/>
              <c:size val="3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0A2-402F-BDFA-2CC73C0DF5A2}"/>
              </c:ext>
            </c:extLst>
          </c:dPt>
          <c:dPt>
            <c:idx val="8"/>
            <c:marker>
              <c:symbol val="diamond"/>
              <c:size val="3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0A2-402F-BDFA-2CC73C0DF5A2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0">
                  <c:v>2.9885525311625543</c:v>
                </c:pt>
                <c:pt idx="1">
                  <c:v>3.0047547547547548</c:v>
                </c:pt>
                <c:pt idx="2">
                  <c:v>2.9550342130987293</c:v>
                </c:pt>
                <c:pt idx="3">
                  <c:v>3.1738148984198644</c:v>
                </c:pt>
                <c:pt idx="4">
                  <c:v>2.9399919452275474</c:v>
                </c:pt>
                <c:pt idx="5">
                  <c:v>2.8656880733944954</c:v>
                </c:pt>
                <c:pt idx="6">
                  <c:v>3.1318531943815135</c:v>
                </c:pt>
                <c:pt idx="7">
                  <c:v>3.2399380804953561</c:v>
                </c:pt>
                <c:pt idx="8">
                  <c:v>3.45454545454545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C0A2-402F-BDFA-2CC73C0DF5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14029950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9.345103884561823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402995071"/>
        <c:crosses val="max"/>
        <c:crossBetween val="between"/>
        <c:majorUnit val="5"/>
      </c:valAx>
      <c:valAx>
        <c:axId val="2"/>
        <c:scaling>
          <c:orientation val="minMax"/>
          <c:max val="4"/>
          <c:min val="1.2000000000000002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700" kern="1200">
                <a:latin typeface="+mn-lt"/>
                <a:ea typeface="ＭＳ Ｐゴシック"/>
                <a:cs typeface="ＭＳ Ｐゴシック"/>
              </a:defRPr>
            </a:pPr>
            <a:endParaRPr lang="en-NL"/>
          </a:p>
        </c:txPr>
        <c:crossAx val="3"/>
        <c:crosses val="min"/>
        <c:crossBetween val="between"/>
        <c:majorUnit val="0.2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A$5</c:f>
              <c:strCache>
                <c:ptCount val="1"/>
                <c:pt idx="0">
                  <c:v>First MomCare Cohort</c:v>
                </c:pt>
              </c:strCache>
            </c:strRef>
          </c:tx>
          <c:spPr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B$4:$E$4</c:f>
              <c:strCache>
                <c:ptCount val="4"/>
                <c:pt idx="0">
                  <c:v>% full ANC profile</c:v>
                </c:pt>
                <c:pt idx="1">
                  <c:v>4+ ANC visits</c:v>
                </c:pt>
                <c:pt idx="2">
                  <c:v>Ultrasound</c:v>
                </c:pt>
                <c:pt idx="3">
                  <c:v>Facility based delivery</c:v>
                </c:pt>
              </c:strCache>
            </c:strRef>
          </c:cat>
          <c:val>
            <c:numRef>
              <c:f>Blad1!$B$5:$E$5</c:f>
              <c:numCache>
                <c:formatCode>0%</c:formatCode>
                <c:ptCount val="4"/>
                <c:pt idx="0">
                  <c:v>0.75</c:v>
                </c:pt>
                <c:pt idx="1">
                  <c:v>0.38</c:v>
                </c:pt>
                <c:pt idx="2">
                  <c:v>0.7</c:v>
                </c:pt>
                <c:pt idx="3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26-224F-9775-D784525F35C0}"/>
            </c:ext>
          </c:extLst>
        </c:ser>
        <c:ser>
          <c:idx val="1"/>
          <c:order val="1"/>
          <c:tx>
            <c:strRef>
              <c:f>Blad1!$A$6</c:f>
              <c:strCache>
                <c:ptCount val="1"/>
                <c:pt idx="0">
                  <c:v>9th MomCare cohort</c:v>
                </c:pt>
              </c:strCache>
            </c:strRef>
          </c:tx>
          <c:spPr>
            <a:solidFill>
              <a:srgbClr val="FFD96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B$4:$E$4</c:f>
              <c:strCache>
                <c:ptCount val="4"/>
                <c:pt idx="0">
                  <c:v>% full ANC profile</c:v>
                </c:pt>
                <c:pt idx="1">
                  <c:v>4+ ANC visits</c:v>
                </c:pt>
                <c:pt idx="2">
                  <c:v>Ultrasound</c:v>
                </c:pt>
                <c:pt idx="3">
                  <c:v>Facility based delivery</c:v>
                </c:pt>
              </c:strCache>
            </c:strRef>
          </c:cat>
          <c:val>
            <c:numRef>
              <c:f>Blad1!$B$6:$E$6</c:f>
              <c:numCache>
                <c:formatCode>0%</c:formatCode>
                <c:ptCount val="4"/>
                <c:pt idx="0">
                  <c:v>0.9</c:v>
                </c:pt>
                <c:pt idx="1">
                  <c:v>0.54</c:v>
                </c:pt>
                <c:pt idx="2">
                  <c:v>0.85</c:v>
                </c:pt>
                <c:pt idx="3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26-224F-9775-D784525F35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2930416"/>
        <c:axId val="364229471"/>
      </c:barChart>
      <c:catAx>
        <c:axId val="672930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364229471"/>
        <c:crosses val="autoZero"/>
        <c:auto val="1"/>
        <c:lblAlgn val="ctr"/>
        <c:lblOffset val="100"/>
        <c:noMultiLvlLbl val="0"/>
      </c:catAx>
      <c:valAx>
        <c:axId val="364229471"/>
        <c:scaling>
          <c:orientation val="minMax"/>
          <c:max val="1"/>
          <c:min val="0.30000000000000004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bg2">
                        <a:lumMod val="9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l-NL" sz="700">
                    <a:solidFill>
                      <a:schemeClr val="bg2">
                        <a:lumMod val="90000"/>
                      </a:schemeClr>
                    </a:solidFill>
                  </a:rPr>
                  <a:t>Percentage of mothers who received specified servic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bg2">
                      <a:lumMod val="9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bg2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672930416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NL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omorbidities!$B$23</c:f>
              <c:strCache>
                <c:ptCount val="1"/>
                <c:pt idx="0">
                  <c:v>General population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omorbidities!$C$22:$G$22</c:f>
              <c:strCache>
                <c:ptCount val="5"/>
                <c:pt idx="0">
                  <c:v>Anemia</c:v>
                </c:pt>
                <c:pt idx="1">
                  <c:v>Hypertension</c:v>
                </c:pt>
                <c:pt idx="2">
                  <c:v>HIV</c:v>
                </c:pt>
                <c:pt idx="3">
                  <c:v>Diabetes</c:v>
                </c:pt>
                <c:pt idx="4">
                  <c:v>Other*</c:v>
                </c:pt>
              </c:strCache>
            </c:strRef>
          </c:cat>
          <c:val>
            <c:numRef>
              <c:f>Comorbidities!$C$23:$G$23</c:f>
              <c:numCache>
                <c:formatCode>0%</c:formatCode>
                <c:ptCount val="5"/>
                <c:pt idx="0">
                  <c:v>8.9999999999999993E-3</c:v>
                </c:pt>
                <c:pt idx="1">
                  <c:v>8.0000000000000002E-3</c:v>
                </c:pt>
                <c:pt idx="2">
                  <c:v>3.5999999999999997E-2</c:v>
                </c:pt>
                <c:pt idx="3">
                  <c:v>1E-3</c:v>
                </c:pt>
                <c:pt idx="4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81-7542-919F-1D7CBD46B97F}"/>
            </c:ext>
          </c:extLst>
        </c:ser>
        <c:ser>
          <c:idx val="1"/>
          <c:order val="1"/>
          <c:tx>
            <c:strRef>
              <c:f>Comorbidities!$B$24</c:f>
              <c:strCache>
                <c:ptCount val="1"/>
                <c:pt idx="0">
                  <c:v>Low Risk</c:v>
                </c:pt>
              </c:strCache>
            </c:strRef>
          </c:tx>
          <c:spPr>
            <a:solidFill>
              <a:srgbClr val="00A79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omorbidities!$C$22:$G$22</c:f>
              <c:strCache>
                <c:ptCount val="5"/>
                <c:pt idx="0">
                  <c:v>Anemia</c:v>
                </c:pt>
                <c:pt idx="1">
                  <c:v>Hypertension</c:v>
                </c:pt>
                <c:pt idx="2">
                  <c:v>HIV</c:v>
                </c:pt>
                <c:pt idx="3">
                  <c:v>Diabetes</c:v>
                </c:pt>
                <c:pt idx="4">
                  <c:v>Other*</c:v>
                </c:pt>
              </c:strCache>
            </c:strRef>
          </c:cat>
          <c:val>
            <c:numRef>
              <c:f>Comorbidities!$C$24:$G$24</c:f>
              <c:numCache>
                <c:formatCode>0%</c:formatCode>
                <c:ptCount val="5"/>
                <c:pt idx="0">
                  <c:v>8.0000000000000002E-3</c:v>
                </c:pt>
                <c:pt idx="1">
                  <c:v>3.0000000000000001E-3</c:v>
                </c:pt>
                <c:pt idx="2">
                  <c:v>3.5000000000000003E-2</c:v>
                </c:pt>
                <c:pt idx="3">
                  <c:v>1E-3</c:v>
                </c:pt>
                <c:pt idx="4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81-7542-919F-1D7CBD46B97F}"/>
            </c:ext>
          </c:extLst>
        </c:ser>
        <c:ser>
          <c:idx val="2"/>
          <c:order val="2"/>
          <c:tx>
            <c:strRef>
              <c:f>Comorbidities!$B$25</c:f>
              <c:strCache>
                <c:ptCount val="1"/>
                <c:pt idx="0">
                  <c:v>High Risk</c:v>
                </c:pt>
              </c:strCache>
            </c:strRef>
          </c:tx>
          <c:spPr>
            <a:solidFill>
              <a:srgbClr val="F2652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omorbidities!$C$22:$G$22</c:f>
              <c:strCache>
                <c:ptCount val="5"/>
                <c:pt idx="0">
                  <c:v>Anemia</c:v>
                </c:pt>
                <c:pt idx="1">
                  <c:v>Hypertension</c:v>
                </c:pt>
                <c:pt idx="2">
                  <c:v>HIV</c:v>
                </c:pt>
                <c:pt idx="3">
                  <c:v>Diabetes</c:v>
                </c:pt>
                <c:pt idx="4">
                  <c:v>Other*</c:v>
                </c:pt>
              </c:strCache>
            </c:strRef>
          </c:cat>
          <c:val>
            <c:numRef>
              <c:f>Comorbidities!$C$25:$G$25</c:f>
              <c:numCache>
                <c:formatCode>0%</c:formatCode>
                <c:ptCount val="5"/>
                <c:pt idx="0">
                  <c:v>2.1999999999999999E-2</c:v>
                </c:pt>
                <c:pt idx="1">
                  <c:v>5.0999999999999997E-2</c:v>
                </c:pt>
                <c:pt idx="2">
                  <c:v>4.1000000000000002E-2</c:v>
                </c:pt>
                <c:pt idx="3">
                  <c:v>6.0000000000000001E-3</c:v>
                </c:pt>
                <c:pt idx="4">
                  <c:v>8.50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81-7542-919F-1D7CBD46B97F}"/>
            </c:ext>
          </c:extLst>
        </c:ser>
        <c:ser>
          <c:idx val="3"/>
          <c:order val="3"/>
          <c:tx>
            <c:strRef>
              <c:f>Comorbidities!$B$26</c:f>
              <c:strCache>
                <c:ptCount val="1"/>
                <c:pt idx="0">
                  <c:v>Teenagers</c:v>
                </c:pt>
              </c:strCache>
            </c:strRef>
          </c:tx>
          <c:spPr>
            <a:solidFill>
              <a:srgbClr val="FBB04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omorbidities!$C$22:$G$22</c:f>
              <c:strCache>
                <c:ptCount val="5"/>
                <c:pt idx="0">
                  <c:v>Anemia</c:v>
                </c:pt>
                <c:pt idx="1">
                  <c:v>Hypertension</c:v>
                </c:pt>
                <c:pt idx="2">
                  <c:v>HIV</c:v>
                </c:pt>
                <c:pt idx="3">
                  <c:v>Diabetes</c:v>
                </c:pt>
                <c:pt idx="4">
                  <c:v>Other*</c:v>
                </c:pt>
              </c:strCache>
            </c:strRef>
          </c:cat>
          <c:val>
            <c:numRef>
              <c:f>Comorbidities!$C$26:$G$26</c:f>
              <c:numCache>
                <c:formatCode>0%</c:formatCode>
                <c:ptCount val="5"/>
                <c:pt idx="0">
                  <c:v>1.5100000000000001E-2</c:v>
                </c:pt>
                <c:pt idx="1">
                  <c:v>4.0000000000000002E-4</c:v>
                </c:pt>
                <c:pt idx="2">
                  <c:v>1.2E-2</c:v>
                </c:pt>
                <c:pt idx="3">
                  <c:v>8.0000000000000004E-4</c:v>
                </c:pt>
                <c:pt idx="4">
                  <c:v>9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81-7542-919F-1D7CBD46B9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13161967"/>
        <c:axId val="313163695"/>
      </c:barChart>
      <c:catAx>
        <c:axId val="313161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313163695"/>
        <c:crosses val="autoZero"/>
        <c:auto val="1"/>
        <c:lblAlgn val="ctr"/>
        <c:lblOffset val="100"/>
        <c:noMultiLvlLbl val="0"/>
      </c:catAx>
      <c:valAx>
        <c:axId val="313163695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13161967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dverse Outcomes'!$G$9</c:f>
              <c:strCache>
                <c:ptCount val="1"/>
                <c:pt idx="0">
                  <c:v>General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2.1148038769184144E-3"/>
                  <c:y val="-4.212489533929979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8DD-634A-8B72-FCD47C7603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dverse Outcomes'!$H$8:$L$8</c:f>
              <c:strCache>
                <c:ptCount val="5"/>
                <c:pt idx="0">
                  <c:v>Reported Child Mortality</c:v>
                </c:pt>
                <c:pt idx="1">
                  <c:v>Neonatal mortality</c:v>
                </c:pt>
                <c:pt idx="2">
                  <c:v>Pregnancy loss</c:v>
                </c:pt>
                <c:pt idx="3">
                  <c:v>Adverse delivery</c:v>
                </c:pt>
                <c:pt idx="4">
                  <c:v>Neonatal complications</c:v>
                </c:pt>
              </c:strCache>
            </c:strRef>
          </c:cat>
          <c:val>
            <c:numRef>
              <c:f>'Adverse Outcomes'!$H$9:$L$9</c:f>
              <c:numCache>
                <c:formatCode>0.0%</c:formatCode>
                <c:ptCount val="5"/>
                <c:pt idx="0">
                  <c:v>7.0999999999999994E-2</c:v>
                </c:pt>
                <c:pt idx="1">
                  <c:v>4.2999999999999999E-4</c:v>
                </c:pt>
                <c:pt idx="2" formatCode="0.00%">
                  <c:v>3.7000000000000002E-3</c:v>
                </c:pt>
                <c:pt idx="3">
                  <c:v>3.2000000000000001E-2</c:v>
                </c:pt>
                <c:pt idx="4">
                  <c:v>4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DD-634A-8B72-FCD47C76037E}"/>
            </c:ext>
          </c:extLst>
        </c:ser>
        <c:ser>
          <c:idx val="1"/>
          <c:order val="1"/>
          <c:tx>
            <c:strRef>
              <c:f>'Adverse Outcomes'!$G$10</c:f>
              <c:strCache>
                <c:ptCount val="1"/>
                <c:pt idx="0">
                  <c:v>High risk</c:v>
                </c:pt>
              </c:strCache>
            </c:strRef>
          </c:tx>
          <c:spPr>
            <a:solidFill>
              <a:srgbClr val="F26522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6.3444116307552817E-3"/>
                  <c:y val="-6.619626410461379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8DD-634A-8B72-FCD47C76037E}"/>
                </c:ext>
              </c:extLst>
            </c:dLbl>
            <c:dLbl>
              <c:idx val="2"/>
              <c:layout>
                <c:manualLayout>
                  <c:x val="-4.2296077538369059E-3"/>
                  <c:y val="-8.424979067859936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8DD-634A-8B72-FCD47C76037E}"/>
                </c:ext>
              </c:extLst>
            </c:dLbl>
            <c:dLbl>
              <c:idx val="3"/>
              <c:layout>
                <c:manualLayout>
                  <c:x val="-2.1148038769184144E-3"/>
                  <c:y val="-4.814273753062821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8DD-634A-8B72-FCD47C7603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dverse Outcomes'!$H$8:$L$8</c:f>
              <c:strCache>
                <c:ptCount val="5"/>
                <c:pt idx="0">
                  <c:v>Reported Child Mortality</c:v>
                </c:pt>
                <c:pt idx="1">
                  <c:v>Neonatal mortality</c:v>
                </c:pt>
                <c:pt idx="2">
                  <c:v>Pregnancy loss</c:v>
                </c:pt>
                <c:pt idx="3">
                  <c:v>Adverse delivery</c:v>
                </c:pt>
                <c:pt idx="4">
                  <c:v>Neonatal complications</c:v>
                </c:pt>
              </c:strCache>
            </c:strRef>
          </c:cat>
          <c:val>
            <c:numRef>
              <c:f>'Adverse Outcomes'!$H$10:$L$10</c:f>
              <c:numCache>
                <c:formatCode>0.0%</c:formatCode>
                <c:ptCount val="5"/>
                <c:pt idx="0">
                  <c:v>8.2000000000000003E-2</c:v>
                </c:pt>
                <c:pt idx="1">
                  <c:v>0</c:v>
                </c:pt>
                <c:pt idx="2" formatCode="0.00%">
                  <c:v>3.8999999999999998E-3</c:v>
                </c:pt>
                <c:pt idx="3">
                  <c:v>3.2000000000000001E-2</c:v>
                </c:pt>
                <c:pt idx="4">
                  <c:v>6.90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8DD-634A-8B72-FCD47C76037E}"/>
            </c:ext>
          </c:extLst>
        </c:ser>
        <c:ser>
          <c:idx val="2"/>
          <c:order val="2"/>
          <c:tx>
            <c:strRef>
              <c:f>'Adverse Outcomes'!$G$11</c:f>
              <c:strCache>
                <c:ptCount val="1"/>
                <c:pt idx="0">
                  <c:v>Low risk</c:v>
                </c:pt>
              </c:strCache>
            </c:strRef>
          </c:tx>
          <c:spPr>
            <a:solidFill>
              <a:srgbClr val="00A79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dverse Outcomes'!$H$8:$L$8</c:f>
              <c:strCache>
                <c:ptCount val="5"/>
                <c:pt idx="0">
                  <c:v>Reported Child Mortality</c:v>
                </c:pt>
                <c:pt idx="1">
                  <c:v>Neonatal mortality</c:v>
                </c:pt>
                <c:pt idx="2">
                  <c:v>Pregnancy loss</c:v>
                </c:pt>
                <c:pt idx="3">
                  <c:v>Adverse delivery</c:v>
                </c:pt>
                <c:pt idx="4">
                  <c:v>Neonatal complications</c:v>
                </c:pt>
              </c:strCache>
            </c:strRef>
          </c:cat>
          <c:val>
            <c:numRef>
              <c:f>'Adverse Outcomes'!$H$11:$L$11</c:f>
              <c:numCache>
                <c:formatCode>0.0%</c:formatCode>
                <c:ptCount val="5"/>
                <c:pt idx="0">
                  <c:v>6.9000000000000006E-2</c:v>
                </c:pt>
                <c:pt idx="1">
                  <c:v>4.8000000000000001E-4</c:v>
                </c:pt>
                <c:pt idx="2" formatCode="0.00%">
                  <c:v>3.8E-3</c:v>
                </c:pt>
                <c:pt idx="3">
                  <c:v>3.2000000000000001E-2</c:v>
                </c:pt>
                <c:pt idx="4">
                  <c:v>3.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DD-634A-8B72-FCD47C76037E}"/>
            </c:ext>
          </c:extLst>
        </c:ser>
        <c:ser>
          <c:idx val="3"/>
          <c:order val="3"/>
          <c:tx>
            <c:strRef>
              <c:f>'Adverse Outcomes'!$G$12</c:f>
              <c:strCache>
                <c:ptCount val="1"/>
                <c:pt idx="0">
                  <c:v>Teena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dverse Outcomes'!$H$12:$L$12</c:f>
              <c:numCache>
                <c:formatCode>0.0%</c:formatCode>
                <c:ptCount val="5"/>
                <c:pt idx="1">
                  <c:v>6.0000000000000001E-3</c:v>
                </c:pt>
                <c:pt idx="3">
                  <c:v>0.06</c:v>
                </c:pt>
                <c:pt idx="4">
                  <c:v>2.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8DD-634A-8B72-FCD47C7603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3177248"/>
        <c:axId val="521177007"/>
      </c:barChart>
      <c:catAx>
        <c:axId val="50317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521177007"/>
        <c:crosses val="autoZero"/>
        <c:auto val="1"/>
        <c:lblAlgn val="ctr"/>
        <c:lblOffset val="100"/>
        <c:noMultiLvlLbl val="0"/>
      </c:catAx>
      <c:valAx>
        <c:axId val="521177007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503177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7A5D2111-29F8-CC4F-A356-A10993281B0F}" type="datetimeFigureOut">
              <a:rPr lang="en-US">
                <a:latin typeface="Arial" charset="0"/>
              </a:rPr>
              <a:pPr/>
              <a:t>5/1/23</a:t>
            </a:fld>
            <a:endParaRPr lang="en-US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DF27159-EE9F-6647-8DEC-7B741C637347}" type="slidenum">
              <a:rPr lang="en-US">
                <a:latin typeface="Arial" charset="0"/>
              </a:rPr>
              <a:pPr/>
              <a:t>‹#›</a:t>
            </a:fld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4226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71CF5455-EA6F-E342-84CA-77352A2CD83C}" type="datetimeFigureOut">
              <a:rPr lang="en-US" smtClean="0"/>
              <a:pPr/>
              <a:t>5/1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EC87EF4F-7B4D-4041-99CF-783751CD3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4913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591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8973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5837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5708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5630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2669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6118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70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https://gh.bmj.com/content/bmjgh/6/6/e004707.full.pdf</a:t>
            </a:r>
            <a:br>
              <a:rPr lang="en-US"/>
            </a:br>
            <a:r>
              <a:rPr lang="en-US"/>
              <a:t>https://documents1.worldbank.org/curated/en/260981468150303844/pdf/541060BRI0RBF110Box345636B01PUBLIC1.pdf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?Add more specific example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/>
              <a:t>In Kenya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/>
              <a:t>Working towards UHC, however significant gaps in access and affordability for out of pocket costs remain 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/>
              <a:t>Private health insurance remains low overall, with significant discrepancy seen across the spectrum of urbanization and wealth </a:t>
            </a:r>
          </a:p>
          <a:p>
            <a:r>
              <a:rPr lang="en-US"/>
              <a:t> </a:t>
            </a:r>
          </a:p>
          <a:p>
            <a:r>
              <a:rPr lang="en-US"/>
              <a:t>Kenya National Bureau of Statistics – demographic and health survey 2022 </a:t>
            </a:r>
          </a:p>
          <a:p>
            <a:pPr marL="285750" indent="-285750">
              <a:buFontTx/>
              <a:buChar char="-"/>
            </a:pPr>
            <a:r>
              <a:rPr lang="en-GB" sz="1800">
                <a:effectLst/>
                <a:latin typeface="TimesNewRomanPSMT"/>
              </a:rPr>
              <a:t>One in four persons in Kenya (26% of females and 27% of males) have some form of health insurance. </a:t>
            </a:r>
            <a:endParaRPr lang="en-GB" sz="1200">
              <a:effectLst/>
              <a:latin typeface="Arial" charset="0"/>
            </a:endParaRPr>
          </a:p>
          <a:p>
            <a:pPr marL="285750" indent="-285750">
              <a:buFontTx/>
              <a:buChar char="-"/>
            </a:pPr>
            <a:r>
              <a:rPr lang="en-GB" sz="1800">
                <a:effectLst/>
                <a:latin typeface="TimesNewRomanPSMT"/>
              </a:rPr>
              <a:t>The National Hospital Insurance Fund is the most common type of health insurance (24% each of females and males). </a:t>
            </a:r>
            <a:endParaRPr lang="en-GB" sz="1200">
              <a:effectLst/>
              <a:latin typeface="Arial" charset="0"/>
            </a:endParaRPr>
          </a:p>
          <a:p>
            <a:pPr marL="285750" indent="-285750">
              <a:buFontTx/>
              <a:buChar char="-"/>
            </a:pPr>
            <a:r>
              <a:rPr lang="en-GB" sz="1800">
                <a:effectLst/>
                <a:latin typeface="TimesNewRomanPSMT"/>
              </a:rPr>
              <a:t>The proportion of persons covered with any health insurance is higher in urban areas (39% among females and 41% among males) than in rural areas (20% among females and 19% among males). </a:t>
            </a:r>
            <a:endParaRPr lang="en-GB" sz="1200">
              <a:effectLst/>
              <a:latin typeface="Arial" charset="0"/>
            </a:endParaRPr>
          </a:p>
          <a:p>
            <a:pPr marL="285750" indent="-285750">
              <a:buFontTx/>
              <a:buChar char="-"/>
            </a:pPr>
            <a:r>
              <a:rPr lang="en-GB" sz="1800">
                <a:effectLst/>
                <a:latin typeface="TimesNewRomanPSMT"/>
              </a:rPr>
              <a:t>Health insurance coverage increases with increasing wealth, from 5% among females and males in the lowest wealth quintile to 56% among females and 60% among males in the highest wealth quintile. </a:t>
            </a:r>
            <a:endParaRPr lang="en-GB">
              <a:effectLst/>
            </a:endParaRPr>
          </a:p>
          <a:p>
            <a:endParaRPr lang="en-US"/>
          </a:p>
          <a:p>
            <a:pPr marL="171450" indent="-171450">
              <a:buFontTx/>
              <a:buChar char="-"/>
            </a:pPr>
            <a:r>
              <a:rPr lang="en-US"/>
              <a:t>98% response rate from 42000+ households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800">
                <a:effectLst/>
                <a:latin typeface="TimesNewRomanPSMT"/>
              </a:rPr>
              <a:t>The percentage of women with four or more ANC visits for their last live birth is higher in urban areas (74%) than in rural areas (62%). </a:t>
            </a:r>
            <a:endParaRPr lang="en-GB">
              <a:effectLst/>
            </a:endParaRPr>
          </a:p>
          <a:p>
            <a:pPr marL="171450" indent="-171450">
              <a:buFontTx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265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6541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erfect example of paper-based clinical admin when we see that this doctor / nurse actually owns her own smartpho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0765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erfect example of paper-based clinical admin when we see that this doctor / nurse actually owns her own smartpho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8699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7426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9912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9747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87EF4F-7B4D-4041-99CF-783751CD305E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126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0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608880"/>
          </a:xfrm>
          <a:solidFill>
            <a:schemeClr val="tx1">
              <a:alpha val="90000"/>
            </a:schemeClr>
          </a:solidFill>
        </p:spPr>
        <p:txBody>
          <a:bodyPr lIns="540000" tIns="180000" rIns="396000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style</a:t>
            </a:r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4724400" y="461446"/>
            <a:ext cx="3343488" cy="1010078"/>
          </a:xfrm>
          <a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180000" tIns="180000" rIns="180000" bIns="180000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707" y="905182"/>
            <a:ext cx="7221648" cy="3333136"/>
          </a:xfrm>
          <a:solidFill>
            <a:schemeClr val="tx1">
              <a:alpha val="90000"/>
            </a:schemeClr>
          </a:solidFill>
        </p:spPr>
        <p:txBody>
          <a:bodyPr lIns="1080000" tIns="360000" rIns="720000" bIns="1080000" anchor="ctr" anchorCtr="0"/>
          <a:lstStyle>
            <a:lvl1pPr algn="l"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“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Quote”</a:t>
            </a:r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0393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2010309" y="3032788"/>
            <a:ext cx="4908307" cy="520640"/>
          </a:xfrm>
        </p:spPr>
        <p:txBody>
          <a:bodyPr/>
          <a:lstStyle>
            <a:lvl1pPr marL="0" indent="0">
              <a:buFontTx/>
              <a:buNone/>
              <a:defRPr sz="1300" baseline="0">
                <a:solidFill>
                  <a:srgbClr val="D4E4F3"/>
                </a:solidFill>
              </a:defRPr>
            </a:lvl1pPr>
            <a:lvl2pPr marL="457200" indent="0">
              <a:buFontTx/>
              <a:buNone/>
              <a:defRPr sz="1300" baseline="0">
                <a:solidFill>
                  <a:srgbClr val="D4E4F3"/>
                </a:solidFill>
              </a:defRPr>
            </a:lvl2pPr>
            <a:lvl3pPr marL="914400" indent="0">
              <a:buFontTx/>
              <a:buNone/>
              <a:defRPr sz="1300" baseline="0">
                <a:solidFill>
                  <a:srgbClr val="D4E4F3"/>
                </a:solidFill>
              </a:defRPr>
            </a:lvl3pPr>
            <a:lvl4pPr marL="1371600" indent="0">
              <a:buFontTx/>
              <a:buNone/>
              <a:defRPr sz="1300" baseline="0">
                <a:solidFill>
                  <a:srgbClr val="D4E4F3"/>
                </a:solidFill>
              </a:defRPr>
            </a:lvl4pPr>
            <a:lvl5pPr marL="1828800" indent="0">
              <a:buFontTx/>
              <a:buNone/>
              <a:defRPr sz="1300" baseline="0">
                <a:solidFill>
                  <a:srgbClr val="D4E4F3"/>
                </a:solidFill>
              </a:defRPr>
            </a:lvl5pPr>
          </a:lstStyle>
          <a:p>
            <a:pPr lvl="0"/>
            <a:r>
              <a:rPr lang="en-US" sz="1300">
                <a:solidFill>
                  <a:srgbClr val="D4E4F3"/>
                </a:solidFill>
                <a:latin typeface="Arial" charset="0"/>
              </a:rPr>
              <a:t>— </a:t>
            </a:r>
            <a:r>
              <a:rPr lang="en-US"/>
              <a:t>Click to edit name</a:t>
            </a:r>
          </a:p>
        </p:txBody>
      </p:sp>
    </p:spTree>
    <p:extLst>
      <p:ext uri="{BB962C8B-B14F-4D97-AF65-F5344CB8AC3E}">
        <p14:creationId xmlns:p14="http://schemas.microsoft.com/office/powerpoint/2010/main" val="1211894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3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+ imag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3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endParaRPr lang="nl-NL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endParaRPr lang="en-US"/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3252484" y="1319213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962171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6303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521595" y="818356"/>
            <a:ext cx="6583462" cy="3506788"/>
          </a:xfrm>
        </p:spPr>
        <p:txBody>
          <a:bodyPr wrap="square" anchor="t" anchorCtr="0"/>
          <a:lstStyle>
            <a:lvl1pPr marL="171450" indent="-1714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100" b="0" baseline="0">
                <a:solidFill>
                  <a:schemeClr val="tx1"/>
                </a:solidFill>
              </a:defRPr>
            </a:lvl1pPr>
            <a:lvl2pPr marL="742931" indent="-285743">
              <a:buFont typeface="Wingdings" charset="2"/>
              <a:buChar char="§"/>
              <a:defRPr sz="1300" baseline="0"/>
            </a:lvl2pPr>
            <a:lvl3pPr marL="1142972" indent="-228594">
              <a:buFont typeface="Wingdings" charset="2"/>
              <a:buChar char="§"/>
              <a:defRPr sz="1300" baseline="0"/>
            </a:lvl3pPr>
            <a:lvl4pPr marL="1600160" indent="-228594">
              <a:buFont typeface="Wingdings" charset="2"/>
              <a:buChar char="§"/>
              <a:defRPr sz="1300" baseline="0"/>
            </a:lvl4pPr>
            <a:lvl5pPr marL="2057348" indent="-228594">
              <a:buFont typeface="Wingdings" charset="2"/>
              <a:buChar char="§"/>
              <a:defRPr sz="1300" baseline="0"/>
            </a:lvl5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62045"/>
            <a:ext cx="7201647" cy="561600"/>
          </a:xfrm>
          <a:solidFill>
            <a:srgbClr val="033659">
              <a:alpha val="90000"/>
            </a:srgb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to edit title</a:t>
            </a:r>
            <a:endParaRPr lang="en-US"/>
          </a:p>
        </p:txBody>
      </p:sp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B42AE6EF-362D-E6D5-C254-EE4F6AE185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1076" y="4791075"/>
            <a:ext cx="431010" cy="25542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pPr defTabSz="188856"/>
            <a:fld id="{9C24207B-2825-1344-BA70-0110A4EF1B0C}" type="slidenum">
              <a:rPr lang="en-GB" smtClean="0"/>
              <a:pPr defTabSz="188856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37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16271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6350000" imgH="6350000" progId="TCLayout.ActiveDocument.1">
                  <p:embed/>
                </p:oleObj>
              </mc:Choice>
              <mc:Fallback>
                <p:oleObj name="think-cell Slide" r:id="rId10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56C8795-482B-49DB-AA7E-9C85A6EC9D6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NL" sz="3000" b="0" i="0" baseline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style</a:t>
            </a:r>
            <a:endParaRPr 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s</a:t>
            </a:r>
            <a:endParaRPr lang="nl-NL"/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69" r:id="rId4"/>
    <p:sldLayoutId id="2147483675" r:id="rId5"/>
    <p:sldLayoutId id="2147483682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000" b="0" i="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457200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None/>
        <a:defRPr sz="1600" b="0" i="0" kern="1200" baseline="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273050" indent="-273050" algn="l" defTabSz="457200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533400" indent="-260350" algn="l" defTabSz="457200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806450" indent="-273050" algn="l" defTabSz="457200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4242B"/>
        </a:buClr>
        <a:buFont typeface="Wingdings" charset="2"/>
        <a:buChar char="§"/>
        <a:defRPr sz="2000" b="0" i="0" kern="1200" baseline="0">
          <a:solidFill>
            <a:schemeClr val="tx1"/>
          </a:solidFill>
          <a:latin typeface="Arial" charset="0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4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notesSlide" Target="../notesSlides/notesSlide9.xml"/><Relationship Id="rId7" Type="http://schemas.microsoft.com/office/2007/relationships/hdphoto" Target="../media/hdphoto2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Relationship Id="rId6" Type="http://schemas.openxmlformats.org/officeDocument/2006/relationships/image" Target="../media/image30.png"/><Relationship Id="rId11" Type="http://schemas.openxmlformats.org/officeDocument/2006/relationships/image" Target="../media/image34.png"/><Relationship Id="rId5" Type="http://schemas.openxmlformats.org/officeDocument/2006/relationships/image" Target="../media/image16.emf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9" Type="http://schemas.openxmlformats.org/officeDocument/2006/relationships/tags" Target="../tags/tag67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42" Type="http://schemas.openxmlformats.org/officeDocument/2006/relationships/tags" Target="../tags/tag70.xml"/><Relationship Id="rId47" Type="http://schemas.openxmlformats.org/officeDocument/2006/relationships/tags" Target="../tags/tag75.xml"/><Relationship Id="rId50" Type="http://schemas.openxmlformats.org/officeDocument/2006/relationships/tags" Target="../tags/tag78.xml"/><Relationship Id="rId55" Type="http://schemas.openxmlformats.org/officeDocument/2006/relationships/image" Target="../media/image35.emf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9" Type="http://schemas.openxmlformats.org/officeDocument/2006/relationships/tags" Target="../tags/tag57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40" Type="http://schemas.openxmlformats.org/officeDocument/2006/relationships/tags" Target="../tags/tag68.xml"/><Relationship Id="rId45" Type="http://schemas.openxmlformats.org/officeDocument/2006/relationships/tags" Target="../tags/tag73.xml"/><Relationship Id="rId53" Type="http://schemas.openxmlformats.org/officeDocument/2006/relationships/notesSlide" Target="../notesSlides/notesSlide11.xml"/><Relationship Id="rId58" Type="http://schemas.openxmlformats.org/officeDocument/2006/relationships/chart" Target="../charts/chart3.xml"/><Relationship Id="rId5" Type="http://schemas.openxmlformats.org/officeDocument/2006/relationships/tags" Target="../tags/tag33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43" Type="http://schemas.openxmlformats.org/officeDocument/2006/relationships/tags" Target="../tags/tag71.xml"/><Relationship Id="rId48" Type="http://schemas.openxmlformats.org/officeDocument/2006/relationships/tags" Target="../tags/tag76.xml"/><Relationship Id="rId56" Type="http://schemas.openxmlformats.org/officeDocument/2006/relationships/image" Target="../media/image36.png"/><Relationship Id="rId8" Type="http://schemas.openxmlformats.org/officeDocument/2006/relationships/tags" Target="../tags/tag36.xml"/><Relationship Id="rId51" Type="http://schemas.openxmlformats.org/officeDocument/2006/relationships/tags" Target="../tags/tag79.xml"/><Relationship Id="rId3" Type="http://schemas.openxmlformats.org/officeDocument/2006/relationships/tags" Target="../tags/tag31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38" Type="http://schemas.openxmlformats.org/officeDocument/2006/relationships/tags" Target="../tags/tag66.xml"/><Relationship Id="rId46" Type="http://schemas.openxmlformats.org/officeDocument/2006/relationships/tags" Target="../tags/tag74.xml"/><Relationship Id="rId59" Type="http://schemas.openxmlformats.org/officeDocument/2006/relationships/image" Target="../media/image38.emf"/><Relationship Id="rId20" Type="http://schemas.openxmlformats.org/officeDocument/2006/relationships/tags" Target="../tags/tag48.xml"/><Relationship Id="rId41" Type="http://schemas.openxmlformats.org/officeDocument/2006/relationships/tags" Target="../tags/tag69.xml"/><Relationship Id="rId54" Type="http://schemas.openxmlformats.org/officeDocument/2006/relationships/oleObject" Target="../embeddings/oleObject13.bin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49" Type="http://schemas.openxmlformats.org/officeDocument/2006/relationships/tags" Target="../tags/tag77.xml"/><Relationship Id="rId57" Type="http://schemas.openxmlformats.org/officeDocument/2006/relationships/image" Target="../media/image37.png"/><Relationship Id="rId10" Type="http://schemas.openxmlformats.org/officeDocument/2006/relationships/tags" Target="../tags/tag38.xml"/><Relationship Id="rId31" Type="http://schemas.openxmlformats.org/officeDocument/2006/relationships/tags" Target="../tags/tag59.xml"/><Relationship Id="rId44" Type="http://schemas.openxmlformats.org/officeDocument/2006/relationships/tags" Target="../tags/tag72.xml"/><Relationship Id="rId52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9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chart" Target="../charts/chart4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2.xml"/><Relationship Id="rId6" Type="http://schemas.openxmlformats.org/officeDocument/2006/relationships/image" Target="../media/image40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4.jpeg"/><Relationship Id="rId4" Type="http://schemas.openxmlformats.org/officeDocument/2006/relationships/image" Target="../media/image43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emf"/><Relationship Id="rId3" Type="http://schemas.openxmlformats.org/officeDocument/2006/relationships/image" Target="../media/image46.jpeg"/><Relationship Id="rId7" Type="http://schemas.openxmlformats.org/officeDocument/2006/relationships/image" Target="../media/image50.emf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emf"/><Relationship Id="rId5" Type="http://schemas.openxmlformats.org/officeDocument/2006/relationships/image" Target="../media/image48.emf"/><Relationship Id="rId10" Type="http://schemas.openxmlformats.org/officeDocument/2006/relationships/image" Target="../media/image53.emf"/><Relationship Id="rId4" Type="http://schemas.openxmlformats.org/officeDocument/2006/relationships/image" Target="../media/image47.png"/><Relationship Id="rId9" Type="http://schemas.openxmlformats.org/officeDocument/2006/relationships/image" Target="../media/image5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image" Target="../media/image55.emf"/><Relationship Id="rId7" Type="http://schemas.openxmlformats.org/officeDocument/2006/relationships/image" Target="../media/image59.png"/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8.png"/><Relationship Id="rId5" Type="http://schemas.openxmlformats.org/officeDocument/2006/relationships/image" Target="../media/image57.emf"/><Relationship Id="rId4" Type="http://schemas.openxmlformats.org/officeDocument/2006/relationships/image" Target="../media/image56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3.xml"/><Relationship Id="rId6" Type="http://schemas.openxmlformats.org/officeDocument/2006/relationships/image" Target="../media/image61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51.emf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0.emf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17.bin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6" Type="http://schemas.openxmlformats.org/officeDocument/2006/relationships/hyperlink" Target="mailto:j.fleischer@pharmaccess.org" TargetMode="Externa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notesSlide" Target="../notesSlides/notesSlide2.xml"/><Relationship Id="rId18" Type="http://schemas.openxmlformats.org/officeDocument/2006/relationships/hyperlink" Target="https://www.cia.gov/the-world-factbook/" TargetMode="External"/><Relationship Id="rId3" Type="http://schemas.openxmlformats.org/officeDocument/2006/relationships/tags" Target="../tags/tag10.xml"/><Relationship Id="rId21" Type="http://schemas.openxmlformats.org/officeDocument/2006/relationships/image" Target="../media/image9.png"/><Relationship Id="rId7" Type="http://schemas.openxmlformats.org/officeDocument/2006/relationships/tags" Target="../tags/tag14.xml"/><Relationship Id="rId12" Type="http://schemas.openxmlformats.org/officeDocument/2006/relationships/slideLayout" Target="../slideLayouts/slideLayout3.xml"/><Relationship Id="rId17" Type="http://schemas.openxmlformats.org/officeDocument/2006/relationships/chart" Target="../charts/chart2.xml"/><Relationship Id="rId2" Type="http://schemas.openxmlformats.org/officeDocument/2006/relationships/tags" Target="../tags/tag9.xml"/><Relationship Id="rId16" Type="http://schemas.openxmlformats.org/officeDocument/2006/relationships/chart" Target="../charts/chart1.xml"/><Relationship Id="rId20" Type="http://schemas.openxmlformats.org/officeDocument/2006/relationships/image" Target="../media/image8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image" Target="../media/image6.emf"/><Relationship Id="rId10" Type="http://schemas.openxmlformats.org/officeDocument/2006/relationships/tags" Target="../tags/tag17.xml"/><Relationship Id="rId19" Type="http://schemas.openxmlformats.org/officeDocument/2006/relationships/image" Target="../media/image7.jpe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emf"/><Relationship Id="rId10" Type="http://schemas.openxmlformats.org/officeDocument/2006/relationships/image" Target="../media/image21.jpe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emf"/><Relationship Id="rId10" Type="http://schemas.openxmlformats.org/officeDocument/2006/relationships/image" Target="../media/image28.jpe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669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A6E06A0-C2E9-7730-2EE8-6EFA9F61AE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30234" y1="54167" x2="30234" y2="54167"/>
                        <a14:foregroundMark x1="30234" y1="54167" x2="30234" y2="54167"/>
                        <a14:foregroundMark x1="30703" y1="56111" x2="24219" y2="54722"/>
                        <a14:foregroundMark x1="24219" y1="54722" x2="32109" y2="53889"/>
                        <a14:foregroundMark x1="32109" y1="53889" x2="27813" y2="60417"/>
                        <a14:foregroundMark x1="27813" y1="60417" x2="23516" y2="55417"/>
                        <a14:backgroundMark x1="39531" y1="80556" x2="39531" y2="80556"/>
                        <a14:backgroundMark x1="50000" y1="80139" x2="50000" y2="80139"/>
                        <a14:backgroundMark x1="70625" y1="46667" x2="70625" y2="46667"/>
                        <a14:backgroundMark x1="70703" y1="43889" x2="70703" y2="43889"/>
                        <a14:backgroundMark x1="71250" y1="44306" x2="71250" y2="44306"/>
                        <a14:backgroundMark x1="70938" y1="45972" x2="70938" y2="45972"/>
                        <a14:backgroundMark x1="70313" y1="45139" x2="70313" y2="45139"/>
                        <a14:backgroundMark x1="70938" y1="42500" x2="70938" y2="42500"/>
                        <a14:backgroundMark x1="74063" y1="44583" x2="74063" y2="44583"/>
                        <a14:backgroundMark x1="74297" y1="47083" x2="74297" y2="47083"/>
                        <a14:backgroundMark x1="76016" y1="41389" x2="76016" y2="413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3879" y="1053185"/>
            <a:ext cx="6376237" cy="3586634"/>
          </a:xfrm>
          <a:prstGeom prst="rect">
            <a:avLst/>
          </a:prstGeom>
          <a:noFill/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E2C8F1-1C31-4431-BF8A-689D759C05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5066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E2C8F1-1C31-4431-BF8A-689D759C0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437FF4-1B21-42F2-B05B-F95382F665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pic>
        <p:nvPicPr>
          <p:cNvPr id="47" name="Picture 46" descr="A screenshot of a cell phone&#10;&#10;Description automatically generated">
            <a:extLst>
              <a:ext uri="{FF2B5EF4-FFF2-40B4-BE49-F238E27FC236}">
                <a16:creationId xmlns:a16="http://schemas.microsoft.com/office/drawing/2014/main" id="{E0B48205-9704-487B-A775-71F9C44DE773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4066" y="4318976"/>
            <a:ext cx="1965621" cy="727505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A2ABBA4-BD9B-9F2F-85EE-5C0913742195}"/>
              </a:ext>
            </a:extLst>
          </p:cNvPr>
          <p:cNvSpPr txBox="1"/>
          <p:nvPr/>
        </p:nvSpPr>
        <p:spPr>
          <a:xfrm>
            <a:off x="744481" y="298407"/>
            <a:ext cx="765503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err="1">
                <a:solidFill>
                  <a:schemeClr val="bg1"/>
                </a:solidFill>
                <a:latin typeface="Franklin Gothic Medium" panose="020B0603020102020204" pitchFamily="34" charset="0"/>
                <a:ea typeface="ＭＳ Ｐゴシック"/>
              </a:rPr>
              <a:t>MomCare</a:t>
            </a:r>
            <a:r>
              <a:rPr lang="en-US" sz="4000" b="1">
                <a:solidFill>
                  <a:schemeClr val="bg1"/>
                </a:solidFill>
                <a:latin typeface="Franklin Gothic Medium" panose="020B0603020102020204" pitchFamily="34" charset="0"/>
                <a:ea typeface="ＭＳ Ｐゴシック"/>
              </a:rPr>
              <a:t> </a:t>
            </a:r>
          </a:p>
          <a:p>
            <a:pPr algn="ctr"/>
            <a:r>
              <a:rPr lang="en-US" sz="1600">
                <a:solidFill>
                  <a:schemeClr val="bg1"/>
                </a:solidFill>
                <a:latin typeface="Franklin Gothic Medium" panose="020B0603020102020204" pitchFamily="34" charset="0"/>
                <a:ea typeface="ＭＳ Ｐゴシック"/>
              </a:rPr>
              <a:t>Global Innovation Hub peer-to-peer session: segmentation</a:t>
            </a:r>
            <a:endParaRPr lang="en-US" sz="1400">
              <a:solidFill>
                <a:schemeClr val="bg1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DFD029-41F2-6EBE-8158-FB5771FC2664}"/>
              </a:ext>
            </a:extLst>
          </p:cNvPr>
          <p:cNvSpPr txBox="1"/>
          <p:nvPr/>
        </p:nvSpPr>
        <p:spPr>
          <a:xfrm>
            <a:off x="372140" y="4639819"/>
            <a:ext cx="4912241" cy="303481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>
                <a:solidFill>
                  <a:schemeClr val="bg1"/>
                </a:solidFill>
              </a:rPr>
              <a:t>Julie Fleischer – April 26</a:t>
            </a:r>
            <a:r>
              <a:rPr lang="en-US" sz="1600" baseline="30000">
                <a:solidFill>
                  <a:schemeClr val="bg1"/>
                </a:solidFill>
              </a:rPr>
              <a:t>th</a:t>
            </a:r>
            <a:r>
              <a:rPr lang="en-US" sz="1600">
                <a:solidFill>
                  <a:schemeClr val="bg1"/>
                </a:solidFill>
              </a:rPr>
              <a:t> , 2023</a:t>
            </a:r>
          </a:p>
        </p:txBody>
      </p:sp>
    </p:spTree>
    <p:extLst>
      <p:ext uri="{BB962C8B-B14F-4D97-AF65-F5344CB8AC3E}">
        <p14:creationId xmlns:p14="http://schemas.microsoft.com/office/powerpoint/2010/main" val="868714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73ABB3-6EFB-C86C-287E-9F35EF323090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50000"/>
              <a:alpha val="90000"/>
            </a:schemeClr>
          </a:solidFill>
        </p:spPr>
        <p:txBody>
          <a:bodyPr/>
          <a:lstStyle/>
          <a:p>
            <a:r>
              <a:rPr lang="en-GB" sz="1800" dirty="0" err="1">
                <a:effectLst/>
                <a:latin typeface="MuseoSans"/>
              </a:rPr>
              <a:t>MomCare</a:t>
            </a:r>
            <a:r>
              <a:rPr lang="en-GB" sz="1800" dirty="0">
                <a:effectLst/>
                <a:latin typeface="MuseoSans"/>
              </a:rPr>
              <a:t> is a cohort-based VBC program</a:t>
            </a:r>
            <a:r>
              <a:rPr lang="en-GB" sz="1800" dirty="0">
                <a:latin typeface="MuseoSans"/>
              </a:rPr>
              <a:t> that allows </a:t>
            </a:r>
            <a:r>
              <a:rPr lang="en-GB" sz="1800" dirty="0">
                <a:effectLst/>
                <a:latin typeface="MuseoSans"/>
              </a:rPr>
              <a:t>for iterative improvement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398FAD-FAC4-B084-FCA1-AE0B1E7C4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88856"/>
            <a:fld id="{9C24207B-2825-1344-BA70-0110A4EF1B0C}" type="slidenum">
              <a:rPr lang="en-GB" smtClean="0"/>
              <a:pPr defTabSz="188856"/>
              <a:t>10</a:t>
            </a:fld>
            <a:endParaRPr lang="en-GB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7BA64737-F6DC-69C8-9246-F9B7C5D4BF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8624778"/>
              </p:ext>
            </p:extLst>
          </p:nvPr>
        </p:nvGraphicFramePr>
        <p:xfrm>
          <a:off x="-290840" y="1038069"/>
          <a:ext cx="8660910" cy="39688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3485">
                  <a:extLst>
                    <a:ext uri="{9D8B030D-6E8A-4147-A177-3AD203B41FA5}">
                      <a16:colId xmlns:a16="http://schemas.microsoft.com/office/drawing/2014/main" val="1915239452"/>
                    </a:ext>
                  </a:extLst>
                </a:gridCol>
                <a:gridCol w="1443485">
                  <a:extLst>
                    <a:ext uri="{9D8B030D-6E8A-4147-A177-3AD203B41FA5}">
                      <a16:colId xmlns:a16="http://schemas.microsoft.com/office/drawing/2014/main" val="1535987863"/>
                    </a:ext>
                  </a:extLst>
                </a:gridCol>
                <a:gridCol w="1443485">
                  <a:extLst>
                    <a:ext uri="{9D8B030D-6E8A-4147-A177-3AD203B41FA5}">
                      <a16:colId xmlns:a16="http://schemas.microsoft.com/office/drawing/2014/main" val="2979227289"/>
                    </a:ext>
                  </a:extLst>
                </a:gridCol>
                <a:gridCol w="1443485">
                  <a:extLst>
                    <a:ext uri="{9D8B030D-6E8A-4147-A177-3AD203B41FA5}">
                      <a16:colId xmlns:a16="http://schemas.microsoft.com/office/drawing/2014/main" val="532914924"/>
                    </a:ext>
                  </a:extLst>
                </a:gridCol>
                <a:gridCol w="1443485">
                  <a:extLst>
                    <a:ext uri="{9D8B030D-6E8A-4147-A177-3AD203B41FA5}">
                      <a16:colId xmlns:a16="http://schemas.microsoft.com/office/drawing/2014/main" val="3639009314"/>
                    </a:ext>
                  </a:extLst>
                </a:gridCol>
                <a:gridCol w="1443485">
                  <a:extLst>
                    <a:ext uri="{9D8B030D-6E8A-4147-A177-3AD203B41FA5}">
                      <a16:colId xmlns:a16="http://schemas.microsoft.com/office/drawing/2014/main" val="3727665628"/>
                    </a:ext>
                  </a:extLst>
                </a:gridCol>
              </a:tblGrid>
              <a:tr h="661479">
                <a:tc>
                  <a:txBody>
                    <a:bodyPr/>
                    <a:lstStyle/>
                    <a:p>
                      <a:pPr algn="r"/>
                      <a:r>
                        <a:rPr lang="en-US" sz="3200" b="1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Organize care into integrated practice unit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Include complications in pregnancy journey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Ambulance (temporary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Data disseminations to align within clinic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ental health interven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3386113"/>
                  </a:ext>
                </a:extLst>
              </a:tr>
              <a:tr h="661479">
                <a:tc>
                  <a:txBody>
                    <a:bodyPr/>
                    <a:lstStyle/>
                    <a:p>
                      <a:pPr algn="r"/>
                      <a:r>
                        <a:rPr lang="en-US" sz="3200" b="1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Measure outcomes and cost for every patient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TIBA billing data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M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nd-of-journey call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Custom web-ap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0893523"/>
                  </a:ext>
                </a:extLst>
              </a:tr>
              <a:tr h="661479">
                <a:tc>
                  <a:txBody>
                    <a:bodyPr/>
                    <a:lstStyle/>
                    <a:p>
                      <a:pPr algn="r"/>
                      <a:r>
                        <a:rPr lang="en-US" sz="3200" b="1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Reimburse through bundled payments for full care cycle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tandard journey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xtending enrollment perio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Adding bonus paymen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err="1">
                          <a:solidFill>
                            <a:srgbClr val="FFC000"/>
                          </a:solidFill>
                        </a:rPr>
                        <a:t>ValuePoints</a:t>
                      </a:r>
                      <a:endParaRPr lang="en-US" sz="1000" b="1" dirty="0">
                        <a:solidFill>
                          <a:srgbClr val="FFC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721690"/>
                  </a:ext>
                </a:extLst>
              </a:tr>
              <a:tr h="661479">
                <a:tc>
                  <a:txBody>
                    <a:bodyPr/>
                    <a:lstStyle/>
                    <a:p>
                      <a:pPr algn="r"/>
                      <a:r>
                        <a:rPr lang="en-US" sz="3200" b="1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Integrate care across different facilitie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Hub &amp; spoke model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eferral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1137765"/>
                  </a:ext>
                </a:extLst>
              </a:tr>
              <a:tr h="661479">
                <a:tc>
                  <a:txBody>
                    <a:bodyPr/>
                    <a:lstStyle/>
                    <a:p>
                      <a:pPr algn="r"/>
                      <a:r>
                        <a:rPr lang="en-US" sz="3200" b="1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Expand services with the best outcomes across geography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Nairobi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ural Kenya (Kisumu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yara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Tanzani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Hanang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2343787"/>
                  </a:ext>
                </a:extLst>
              </a:tr>
              <a:tr h="661479">
                <a:tc>
                  <a:txBody>
                    <a:bodyPr/>
                    <a:lstStyle/>
                    <a:p>
                      <a:pPr algn="r"/>
                      <a:r>
                        <a:rPr lang="en-US" sz="3200" b="1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Create IT platform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Patient Journey App for provider engagement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Chain of Trust for data collection and provider engagemen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Dashboard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rgbClr val="FFC000"/>
                          </a:solidFill>
                        </a:rPr>
                        <a:t>Open data platfor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908889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CE7CE461-F8A0-F9A5-9CEC-9EB4E016B461}"/>
              </a:ext>
            </a:extLst>
          </p:cNvPr>
          <p:cNvGrpSpPr/>
          <p:nvPr/>
        </p:nvGrpSpPr>
        <p:grpSpPr>
          <a:xfrm>
            <a:off x="1116531" y="637097"/>
            <a:ext cx="7673834" cy="561600"/>
            <a:chOff x="262844" y="2737669"/>
            <a:chExt cx="8785192" cy="250468"/>
          </a:xfrm>
          <a:solidFill>
            <a:schemeClr val="accent2">
              <a:lumMod val="75000"/>
            </a:schemeClr>
          </a:solidFill>
        </p:grpSpPr>
        <p:sp>
          <p:nvSpPr>
            <p:cNvPr id="9" name="Isosceles Triangle 1">
              <a:extLst>
                <a:ext uri="{FF2B5EF4-FFF2-40B4-BE49-F238E27FC236}">
                  <a16:creationId xmlns:a16="http://schemas.microsoft.com/office/drawing/2014/main" id="{9C3F01D9-ED81-2A2A-FEA6-64FE7B54B5D7}"/>
                </a:ext>
              </a:extLst>
            </p:cNvPr>
            <p:cNvSpPr/>
            <p:nvPr/>
          </p:nvSpPr>
          <p:spPr>
            <a:xfrm>
              <a:off x="262844" y="2805544"/>
              <a:ext cx="8618311" cy="114719"/>
            </a:xfrm>
            <a:prstGeom prst="triangle">
              <a:avLst>
                <a:gd name="adj" fmla="val 10000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l"/>
              <a:endParaRPr lang="en-GB" sz="1100" b="1"/>
            </a:p>
          </p:txBody>
        </p:sp>
        <p:sp>
          <p:nvSpPr>
            <p:cNvPr id="10" name="Isosceles Triangle 4">
              <a:extLst>
                <a:ext uri="{FF2B5EF4-FFF2-40B4-BE49-F238E27FC236}">
                  <a16:creationId xmlns:a16="http://schemas.microsoft.com/office/drawing/2014/main" id="{E1261F6E-FEA6-B962-626C-2C89FAAB7933}"/>
                </a:ext>
              </a:extLst>
            </p:cNvPr>
            <p:cNvSpPr/>
            <p:nvPr/>
          </p:nvSpPr>
          <p:spPr>
            <a:xfrm rot="5400000">
              <a:off x="8835594" y="2775695"/>
              <a:ext cx="250468" cy="174416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l"/>
              <a:endParaRPr lang="en-GB" sz="1100" b="1"/>
            </a:p>
          </p:txBody>
        </p:sp>
      </p:grpSp>
    </p:spTree>
    <p:extLst>
      <p:ext uri="{BB962C8B-B14F-4D97-AF65-F5344CB8AC3E}">
        <p14:creationId xmlns:p14="http://schemas.microsoft.com/office/powerpoint/2010/main" val="23861635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BDD295-C1E4-4721-873B-42753D8669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502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BDD295-C1E4-4721-873B-42753D8669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AEF333-8631-61FF-311D-1C73368B14AE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tx1">
              <a:alpha val="90000"/>
            </a:schemeClr>
          </a:solidFill>
          <a:ln>
            <a:noFill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>
                <a:latin typeface="+mn-lt"/>
              </a:rPr>
              <a:t>MomCare ‘mobile journey tracking’ capability covering the complete journey supports the key components of MomCare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F88EA2-E000-69B2-8F5B-032A01468A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88856"/>
            <a:fld id="{9C24207B-2825-1344-BA70-0110A4EF1B0C}" type="slidenum">
              <a:rPr lang="en-GB" smtClean="0"/>
              <a:pPr defTabSz="188856"/>
              <a:t>11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A090CA-4A5B-84EA-61FE-FD6FEF7969B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6000"/>
                    </a14:imgEffect>
                    <a14:imgEffect>
                      <a14:brightnessContrast contrast="-3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004" b="3052"/>
          <a:stretch/>
        </p:blipFill>
        <p:spPr>
          <a:xfrm>
            <a:off x="410986" y="1439340"/>
            <a:ext cx="3422281" cy="3351735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48F978EF-CA60-84B8-8240-0F5F499677AF}"/>
              </a:ext>
            </a:extLst>
          </p:cNvPr>
          <p:cNvSpPr/>
          <p:nvPr/>
        </p:nvSpPr>
        <p:spPr>
          <a:xfrm>
            <a:off x="0" y="0"/>
            <a:ext cx="2700000" cy="1620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1050">
                <a:solidFill>
                  <a:srgbClr val="00558F"/>
                </a:solidFill>
                <a:cs typeface="Calibri"/>
              </a:rPr>
              <a:t>Care Bundle | Payments | Insights | Nudges</a:t>
            </a:r>
            <a:endParaRPr lang="en-US" sz="1050">
              <a:solidFill>
                <a:srgbClr val="00558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E090C2-4381-19C1-EC72-2637A32C2505}"/>
              </a:ext>
            </a:extLst>
          </p:cNvPr>
          <p:cNvSpPr txBox="1"/>
          <p:nvPr/>
        </p:nvSpPr>
        <p:spPr>
          <a:xfrm>
            <a:off x="4083544" y="1056437"/>
            <a:ext cx="2227108" cy="781689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marR="0" lvl="0" indent="0" algn="ctr" defTabSz="609585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  <a:cs typeface="+mn-cs"/>
              </a:rPr>
              <a:t>Patient tracker for providers</a:t>
            </a:r>
          </a:p>
          <a:p>
            <a:pPr marL="0" marR="0" lvl="0" indent="0" algn="ctr" defTabSz="609585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  <a:cs typeface="+mn-cs"/>
              </a:rPr>
              <a:t>Showing treatment information and improvement suggestions over patient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E61F52F-070B-3C65-9F1A-3ABB47C6BD33}"/>
              </a:ext>
            </a:extLst>
          </p:cNvPr>
          <p:cNvGrpSpPr/>
          <p:nvPr/>
        </p:nvGrpSpPr>
        <p:grpSpPr>
          <a:xfrm>
            <a:off x="7409561" y="2185071"/>
            <a:ext cx="1126913" cy="2513119"/>
            <a:chOff x="4503420" y="1737297"/>
            <a:chExt cx="1198011" cy="2671673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10" name="Picture 9" descr="Related image">
              <a:extLst>
                <a:ext uri="{FF2B5EF4-FFF2-40B4-BE49-F238E27FC236}">
                  <a16:creationId xmlns:a16="http://schemas.microsoft.com/office/drawing/2014/main" id="{216D2A8B-036F-EC83-A169-F024B5565D7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03420" y="1737297"/>
              <a:ext cx="1198011" cy="2671673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D6F5148-C276-C31D-7D57-55E458D9ED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14874" y="2463800"/>
              <a:ext cx="765811" cy="574040"/>
            </a:xfrm>
            <a:prstGeom prst="roundRect">
              <a:avLst>
                <a:gd name="adj" fmla="val 7043"/>
              </a:avLst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9FF56BB4-DF32-EF3B-C4E1-1F3174740DC6}"/>
              </a:ext>
            </a:extLst>
          </p:cNvPr>
          <p:cNvSpPr txBox="1"/>
          <p:nvPr/>
        </p:nvSpPr>
        <p:spPr>
          <a:xfrm>
            <a:off x="6403202" y="1056437"/>
            <a:ext cx="2779046" cy="645433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marR="0" lvl="0" indent="0" algn="ctr" defTabSz="609585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  <a:cs typeface="+mn-cs"/>
              </a:rPr>
              <a:t>Health wallet for patients</a:t>
            </a:r>
          </a:p>
          <a:p>
            <a:pPr marL="0" marR="0" lvl="0" indent="0" algn="ctr" defTabSz="609585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  <a:cs typeface="+mn-cs"/>
              </a:rPr>
              <a:t>Showing entitlements and prompting alerts for clinic appointment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432A18E-BC25-826F-3072-7C2DD105AC0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42748" y="2537060"/>
            <a:ext cx="159057" cy="8103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59E9C8F-DADA-41E3-6D3C-3BFDCB315B1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72000" y="1910665"/>
            <a:ext cx="1797280" cy="3135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7231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BD194A7-C5A9-2D8C-3FE1-A5FB9A2C36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BD194A7-C5A9-2D8C-3FE1-A5FB9A2C36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16538D3-1B43-6B4A-B025-C9CB6D78B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MomCare implements innovative financing mechanisms gradually moving </a:t>
            </a:r>
            <a:br>
              <a:rPr lang="en-GB"/>
            </a:br>
            <a:r>
              <a:rPr lang="en-GB"/>
              <a:t>from fee-for-service to value-based care models</a:t>
            </a:r>
            <a:endParaRPr lang="en-US"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638190-8544-DA81-8DAE-83F77420679A}"/>
              </a:ext>
            </a:extLst>
          </p:cNvPr>
          <p:cNvSpPr txBox="1">
            <a:spLocks/>
          </p:cNvSpPr>
          <p:nvPr/>
        </p:nvSpPr>
        <p:spPr>
          <a:xfrm>
            <a:off x="8601076" y="4791075"/>
            <a:ext cx="431010" cy="25542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algn="r" defTabSz="188856">
              <a:defRPr sz="1000" b="1"/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fld id="{9C24207B-2825-1344-BA70-0110A4EF1B0C}" type="slidenum">
              <a:rPr lang="en-GB"/>
              <a:pPr/>
              <a:t>12</a:t>
            </a:fld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1CBE2FA-BE6C-A94E-A6FB-1D9287871DE1}"/>
              </a:ext>
            </a:extLst>
          </p:cNvPr>
          <p:cNvSpPr txBox="1"/>
          <p:nvPr/>
        </p:nvSpPr>
        <p:spPr>
          <a:xfrm>
            <a:off x="3375776" y="925591"/>
            <a:ext cx="1869591" cy="4621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400" b="1">
                <a:solidFill>
                  <a:srgbClr val="C00000"/>
                </a:solidFill>
              </a:rPr>
              <a:t>VALUE-BASED CARE CONTINUUM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2E5DE772-52E6-D104-839C-9199E55E0B4C}"/>
              </a:ext>
            </a:extLst>
          </p:cNvPr>
          <p:cNvSpPr/>
          <p:nvPr/>
        </p:nvSpPr>
        <p:spPr>
          <a:xfrm>
            <a:off x="607773" y="2781036"/>
            <a:ext cx="220996" cy="214991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 sz="16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C6BAE53-83FB-99DF-2C5F-D0FFB1507DA1}"/>
              </a:ext>
            </a:extLst>
          </p:cNvPr>
          <p:cNvSpPr/>
          <p:nvPr/>
        </p:nvSpPr>
        <p:spPr>
          <a:xfrm>
            <a:off x="2874536" y="2781036"/>
            <a:ext cx="220996" cy="214991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 sz="160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9AAE6FC-5B1D-D608-2563-7C1BE2F87D18}"/>
              </a:ext>
            </a:extLst>
          </p:cNvPr>
          <p:cNvSpPr/>
          <p:nvPr/>
        </p:nvSpPr>
        <p:spPr>
          <a:xfrm>
            <a:off x="5072758" y="2781036"/>
            <a:ext cx="220996" cy="214991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 sz="16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BEFDEE-A983-D84B-A1DB-F1DEC330DABE}"/>
              </a:ext>
            </a:extLst>
          </p:cNvPr>
          <p:cNvSpPr txBox="1"/>
          <p:nvPr/>
        </p:nvSpPr>
        <p:spPr>
          <a:xfrm>
            <a:off x="281917" y="3034211"/>
            <a:ext cx="1801080" cy="1634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100" b="1"/>
              <a:t>Fee for Service (FFS)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Pay for each </a:t>
            </a:r>
            <a:br>
              <a:rPr lang="en-US" sz="1100">
                <a:solidFill>
                  <a:srgbClr val="000000"/>
                </a:solidFill>
              </a:rPr>
            </a:br>
            <a:r>
              <a:rPr lang="en-US" sz="1100">
                <a:solidFill>
                  <a:srgbClr val="000000"/>
                </a:solidFill>
              </a:rPr>
              <a:t>individual service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Incentivizes volume increase at providers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Incentivizes cherry-picking high-risk patients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Not linked to qualit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8EBD562-B5A4-7245-0978-FCBBA26A373C}"/>
              </a:ext>
            </a:extLst>
          </p:cNvPr>
          <p:cNvSpPr txBox="1"/>
          <p:nvPr/>
        </p:nvSpPr>
        <p:spPr>
          <a:xfrm>
            <a:off x="2359166" y="3034211"/>
            <a:ext cx="1951406" cy="1634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100" b="1"/>
              <a:t>FFS - Pay for Performance Hybrid</a:t>
            </a:r>
            <a:endParaRPr lang="en-US" sz="1100">
              <a:solidFill>
                <a:srgbClr val="000000"/>
              </a:solidFill>
            </a:endParaRP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Pay for each </a:t>
            </a:r>
            <a:br>
              <a:rPr lang="en-US" sz="1100">
                <a:solidFill>
                  <a:srgbClr val="000000"/>
                </a:solidFill>
              </a:rPr>
            </a:br>
            <a:r>
              <a:rPr lang="en-US" sz="1100">
                <a:solidFill>
                  <a:srgbClr val="000000"/>
                </a:solidFill>
              </a:rPr>
              <a:t>individual service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Incentivizes volume increase at providers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Incentivizes cherry-picking high-risk patients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rgbClr val="00B050"/>
                </a:solidFill>
              </a:rPr>
              <a:t>Incentivizes qual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1C94464-A083-76E0-F4ED-E88EEC13C2E6}"/>
              </a:ext>
            </a:extLst>
          </p:cNvPr>
          <p:cNvSpPr txBox="1"/>
          <p:nvPr/>
        </p:nvSpPr>
        <p:spPr>
          <a:xfrm>
            <a:off x="4773117" y="3025669"/>
            <a:ext cx="1600631" cy="14480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100" b="1"/>
              <a:t>Bundled payments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Pay for a pre-defined set of services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Simplifies billing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rgbClr val="00B050"/>
                </a:solidFill>
              </a:rPr>
              <a:t>Incentivizes quality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rgbClr val="00B050"/>
                </a:solidFill>
              </a:rPr>
              <a:t>Incentivizes provider accountabil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5C31EBA-E541-A3BA-08A2-CFBC898BB2F1}"/>
              </a:ext>
            </a:extLst>
          </p:cNvPr>
          <p:cNvSpPr txBox="1"/>
          <p:nvPr/>
        </p:nvSpPr>
        <p:spPr>
          <a:xfrm>
            <a:off x="6979920" y="3030649"/>
            <a:ext cx="1691640" cy="12233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100" b="1"/>
              <a:t>Shared savings/risks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Strongest focus on good outcomes</a:t>
            </a:r>
          </a:p>
          <a:p>
            <a:pPr marL="266700" indent="-174625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Operational flexibility for healthcare providers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4BD4BD6-EBA3-9875-DDFA-4328A176FE92}"/>
              </a:ext>
            </a:extLst>
          </p:cNvPr>
          <p:cNvSpPr/>
          <p:nvPr/>
        </p:nvSpPr>
        <p:spPr>
          <a:xfrm>
            <a:off x="0" y="0"/>
            <a:ext cx="2700000" cy="1620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1050">
                <a:solidFill>
                  <a:srgbClr val="00558F"/>
                </a:solidFill>
                <a:cs typeface="Calibri"/>
              </a:rPr>
              <a:t>Care Bundle | </a:t>
            </a:r>
            <a:r>
              <a:rPr lang="en-US" sz="1050" b="1">
                <a:solidFill>
                  <a:srgbClr val="00558F"/>
                </a:solidFill>
                <a:cs typeface="Calibri"/>
              </a:rPr>
              <a:t>Payments</a:t>
            </a:r>
            <a:r>
              <a:rPr lang="en-US" sz="1050">
                <a:solidFill>
                  <a:srgbClr val="00558F"/>
                </a:solidFill>
                <a:cs typeface="Calibri"/>
              </a:rPr>
              <a:t> | Insights | Nudges</a:t>
            </a:r>
            <a:endParaRPr lang="en-US" sz="1050">
              <a:solidFill>
                <a:srgbClr val="00558F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EDC9A9B-EC72-8502-A689-AE4C5444BAE2}"/>
              </a:ext>
            </a:extLst>
          </p:cNvPr>
          <p:cNvSpPr txBox="1"/>
          <p:nvPr/>
        </p:nvSpPr>
        <p:spPr>
          <a:xfrm>
            <a:off x="331248" y="1975192"/>
            <a:ext cx="1801080" cy="34624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b="1"/>
              <a:t>Cohort 1</a:t>
            </a:r>
          </a:p>
          <a:p>
            <a:pPr marL="182563" indent="-90488"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</a:rPr>
              <a:t>Basic car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43D2CC6-2696-51A8-44CA-C30403C7F45F}"/>
              </a:ext>
            </a:extLst>
          </p:cNvPr>
          <p:cNvSpPr txBox="1"/>
          <p:nvPr/>
        </p:nvSpPr>
        <p:spPr>
          <a:xfrm>
            <a:off x="331248" y="2359541"/>
            <a:ext cx="1801080" cy="34624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b="1"/>
              <a:t>Cohorts 2 - 3</a:t>
            </a:r>
          </a:p>
          <a:p>
            <a:pPr marL="182563" indent="-90488"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</a:rPr>
              <a:t>Basic care + complication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FEE4B89-9B94-54AD-A6DF-6FFF9A8529FF}"/>
              </a:ext>
            </a:extLst>
          </p:cNvPr>
          <p:cNvSpPr txBox="1"/>
          <p:nvPr/>
        </p:nvSpPr>
        <p:spPr>
          <a:xfrm>
            <a:off x="2314146" y="2051765"/>
            <a:ext cx="2197989" cy="6540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b="1"/>
              <a:t>Cohort 4 - 12</a:t>
            </a:r>
          </a:p>
          <a:p>
            <a:pPr marL="182563" indent="-90488"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</a:rPr>
              <a:t>Basic care + complications + referral + </a:t>
            </a:r>
            <a:r>
              <a:rPr lang="en-US" sz="1000" b="1">
                <a:solidFill>
                  <a:srgbClr val="000000"/>
                </a:solidFill>
              </a:rPr>
              <a:t>conditional quality bonus </a:t>
            </a:r>
            <a:r>
              <a:rPr lang="en-US" sz="1000">
                <a:solidFill>
                  <a:srgbClr val="000000"/>
                </a:solidFill>
              </a:rPr>
              <a:t>to providers + patient incentiv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F4351A7-61C9-F023-EE64-8126D23056AD}"/>
              </a:ext>
            </a:extLst>
          </p:cNvPr>
          <p:cNvSpPr txBox="1"/>
          <p:nvPr/>
        </p:nvSpPr>
        <p:spPr>
          <a:xfrm>
            <a:off x="4773117" y="1796377"/>
            <a:ext cx="2416505" cy="34624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b="1"/>
              <a:t>Cohort 13 - 14</a:t>
            </a:r>
          </a:p>
          <a:p>
            <a:pPr marL="182563" indent="-90488"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</a:rPr>
              <a:t>Introduced </a:t>
            </a:r>
            <a:r>
              <a:rPr lang="en-US" sz="1000" b="1">
                <a:solidFill>
                  <a:srgbClr val="000000"/>
                </a:solidFill>
              </a:rPr>
              <a:t>bundled payment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12B0D5C-30FF-9705-E046-EBD1DBD14C20}"/>
              </a:ext>
            </a:extLst>
          </p:cNvPr>
          <p:cNvSpPr txBox="1"/>
          <p:nvPr/>
        </p:nvSpPr>
        <p:spPr>
          <a:xfrm>
            <a:off x="4773117" y="2205653"/>
            <a:ext cx="2416505" cy="50013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b="1"/>
              <a:t>Cohort 15 - 18</a:t>
            </a:r>
          </a:p>
          <a:p>
            <a:pPr marL="182563" indent="-90488"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</a:rPr>
              <a:t>Introduced </a:t>
            </a:r>
            <a:r>
              <a:rPr lang="en-US" sz="1000" b="1">
                <a:solidFill>
                  <a:srgbClr val="000000"/>
                </a:solidFill>
              </a:rPr>
              <a:t>capitation</a:t>
            </a:r>
            <a:r>
              <a:rPr lang="en-US" sz="1000">
                <a:solidFill>
                  <a:srgbClr val="000000"/>
                </a:solidFill>
              </a:rPr>
              <a:t> </a:t>
            </a:r>
            <a:br>
              <a:rPr lang="en-US" sz="1000">
                <a:solidFill>
                  <a:srgbClr val="000000"/>
                </a:solidFill>
              </a:rPr>
            </a:br>
            <a:r>
              <a:rPr lang="en-US" sz="1000">
                <a:solidFill>
                  <a:srgbClr val="000000"/>
                </a:solidFill>
              </a:rPr>
              <a:t>(single payment per patient)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D56C7FE-CAD6-1989-62FF-D2FCFFBE976F}"/>
              </a:ext>
            </a:extLst>
          </p:cNvPr>
          <p:cNvSpPr/>
          <p:nvPr/>
        </p:nvSpPr>
        <p:spPr>
          <a:xfrm>
            <a:off x="7356353" y="2781036"/>
            <a:ext cx="220996" cy="214991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 sz="16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54CD2BD-657D-CC9F-E3E6-D8E0C3EB02D4}"/>
              </a:ext>
            </a:extLst>
          </p:cNvPr>
          <p:cNvSpPr txBox="1"/>
          <p:nvPr/>
        </p:nvSpPr>
        <p:spPr>
          <a:xfrm>
            <a:off x="6400077" y="1455863"/>
            <a:ext cx="2632009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72000" tIns="0" rIns="0" bIns="0" rtlCol="0">
            <a:spAutoFit/>
          </a:bodyPr>
          <a:lstStyle/>
          <a:p>
            <a:r>
              <a:rPr lang="en-US" sz="1000" b="1"/>
              <a:t>In Cohort 19, </a:t>
            </a:r>
            <a:r>
              <a:rPr lang="en-US" sz="1000">
                <a:solidFill>
                  <a:srgbClr val="000000"/>
                </a:solidFill>
              </a:rPr>
              <a:t>we will combine bundled payments and value-based (bonus) payments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9D3E4BEC-036C-C88E-76D0-AEF4049CAA55}"/>
              </a:ext>
            </a:extLst>
          </p:cNvPr>
          <p:cNvCxnSpPr>
            <a:cxnSpLocks/>
            <a:stCxn id="34" idx="0"/>
            <a:endCxn id="39" idx="1"/>
          </p:cNvCxnSpPr>
          <p:nvPr/>
        </p:nvCxnSpPr>
        <p:spPr>
          <a:xfrm rot="5400000" flipH="1" flipV="1">
            <a:off x="4685603" y="337291"/>
            <a:ext cx="442013" cy="2986936"/>
          </a:xfrm>
          <a:prstGeom prst="bentConnector2">
            <a:avLst/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02CDCF32-8376-23FD-D2D4-0BBB0827395A}"/>
              </a:ext>
            </a:extLst>
          </p:cNvPr>
          <p:cNvCxnSpPr>
            <a:cxnSpLocks/>
            <a:stCxn id="36" idx="0"/>
            <a:endCxn id="39" idx="1"/>
          </p:cNvCxnSpPr>
          <p:nvPr/>
        </p:nvCxnSpPr>
        <p:spPr>
          <a:xfrm rot="5400000" flipH="1" flipV="1">
            <a:off x="6097411" y="1493712"/>
            <a:ext cx="186625" cy="418707"/>
          </a:xfrm>
          <a:prstGeom prst="bentConnector2">
            <a:avLst/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6DE201B1-E621-3074-94ED-9682D0826EDB}"/>
              </a:ext>
            </a:extLst>
          </p:cNvPr>
          <p:cNvGrpSpPr/>
          <p:nvPr/>
        </p:nvGrpSpPr>
        <p:grpSpPr>
          <a:xfrm>
            <a:off x="262844" y="2737669"/>
            <a:ext cx="8785192" cy="250468"/>
            <a:chOff x="262844" y="2737669"/>
            <a:chExt cx="8785192" cy="250468"/>
          </a:xfrm>
        </p:grpSpPr>
        <p:sp>
          <p:nvSpPr>
            <p:cNvPr id="2" name="Isosceles Triangle 1">
              <a:extLst>
                <a:ext uri="{FF2B5EF4-FFF2-40B4-BE49-F238E27FC236}">
                  <a16:creationId xmlns:a16="http://schemas.microsoft.com/office/drawing/2014/main" id="{CE610247-0686-523A-0B2A-5FB93D55D975}"/>
                </a:ext>
              </a:extLst>
            </p:cNvPr>
            <p:cNvSpPr/>
            <p:nvPr/>
          </p:nvSpPr>
          <p:spPr>
            <a:xfrm>
              <a:off x="262844" y="2805544"/>
              <a:ext cx="8618311" cy="114719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l"/>
              <a:endParaRPr lang="en-GB" sz="1100" b="1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2FF14164-AE49-4905-3271-E13BC8EB177E}"/>
                </a:ext>
              </a:extLst>
            </p:cNvPr>
            <p:cNvSpPr/>
            <p:nvPr/>
          </p:nvSpPr>
          <p:spPr>
            <a:xfrm rot="5400000">
              <a:off x="8835594" y="2775695"/>
              <a:ext cx="250468" cy="174416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l"/>
              <a:endParaRPr lang="en-GB" sz="1100" b="1"/>
            </a:p>
          </p:txBody>
        </p:sp>
      </p:grpSp>
    </p:spTree>
    <p:extLst>
      <p:ext uri="{BB962C8B-B14F-4D97-AF65-F5344CB8AC3E}">
        <p14:creationId xmlns:p14="http://schemas.microsoft.com/office/powerpoint/2010/main" val="7323115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9ADEB0-AA2F-D154-1B8D-6492C33466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344" imgH="344" progId="TCLayout.ActiveDocument.1">
                  <p:embed/>
                </p:oleObj>
              </mc:Choice>
              <mc:Fallback>
                <p:oleObj name="think-cell Slide" r:id="rId5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9ADEB0-AA2F-D154-1B8D-6492C3346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8384742-FD02-DE51-2964-B02B13274169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2">
              <a:lumMod val="50000"/>
              <a:alpha val="90000"/>
            </a:schemeClr>
          </a:solidFill>
        </p:spPr>
        <p:txBody>
          <a:bodyPr vert="horz"/>
          <a:lstStyle/>
          <a:p>
            <a:r>
              <a:rPr lang="en-US" b="1"/>
              <a:t>We observe improved adherence to ANC care as the clinics continue to participate in the progra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F9E1D3-DAAE-BD46-81E9-E71D5C03F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88856"/>
            <a:fld id="{9C24207B-2825-1344-BA70-0110A4EF1B0C}" type="slidenum">
              <a:rPr lang="en-GB" smtClean="0"/>
              <a:pPr defTabSz="188856"/>
              <a:t>13</a:t>
            </a:fld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FE3C147-8856-3D44-D566-08D4DC8D7C43}"/>
              </a:ext>
            </a:extLst>
          </p:cNvPr>
          <p:cNvGrpSpPr/>
          <p:nvPr/>
        </p:nvGrpSpPr>
        <p:grpSpPr>
          <a:xfrm>
            <a:off x="7347235" y="162045"/>
            <a:ext cx="1620000" cy="423683"/>
            <a:chOff x="7380050" y="173556"/>
            <a:chExt cx="1620000" cy="423683"/>
          </a:xfrm>
        </p:grpSpPr>
        <p:pic>
          <p:nvPicPr>
            <p:cNvPr id="6" name="Picture 5" descr="Icon&#10;&#10;Description automatically generated">
              <a:extLst>
                <a:ext uri="{FF2B5EF4-FFF2-40B4-BE49-F238E27FC236}">
                  <a16:creationId xmlns:a16="http://schemas.microsoft.com/office/drawing/2014/main" id="{E0551BA2-D3CE-E8F3-0596-68A9FD724D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80050" y="353556"/>
              <a:ext cx="1387813" cy="243683"/>
            </a:xfrm>
            <a:prstGeom prst="rect">
              <a:avLst/>
            </a:prstGeom>
          </p:spPr>
        </p:pic>
        <p:sp>
          <p:nvSpPr>
            <p:cNvPr id="7" name="Picture Placeholder 2">
              <a:extLst>
                <a:ext uri="{FF2B5EF4-FFF2-40B4-BE49-F238E27FC236}">
                  <a16:creationId xmlns:a16="http://schemas.microsoft.com/office/drawing/2014/main" id="{00086957-F7D8-6F83-33DA-4218A177F9D3}"/>
                </a:ext>
              </a:extLst>
            </p:cNvPr>
            <p:cNvSpPr txBox="1">
              <a:spLocks/>
            </p:cNvSpPr>
            <p:nvPr/>
          </p:nvSpPr>
          <p:spPr>
            <a:xfrm>
              <a:off x="7380050" y="173556"/>
              <a:ext cx="1620000" cy="180000"/>
            </a:xfrm>
            <a:prstGeom prst="rect">
              <a:avLst/>
            </a:prstGeom>
            <a:blipFill rotWithShape="1">
              <a:blip r:embed="rId57"/>
              <a:stretch>
                <a:fillRect/>
              </a:stretch>
            </a:blipFill>
          </p:spPr>
          <p:txBody>
            <a:bodyPr vert="horz" rtlCol="0" anchor="ctr" anchorCtr="1">
              <a:normAutofit fontScale="25000" lnSpcReduction="20000"/>
            </a:bodyPr>
            <a:lstStyle>
              <a:lvl1pPr marL="0" indent="0" algn="l" defTabSz="457200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4"/>
                </a:buClr>
                <a:buFont typeface="Wingdings" charset="2"/>
                <a:buNone/>
                <a:defRPr sz="2000" b="0" i="0" kern="1200" baseline="0">
                  <a:solidFill>
                    <a:schemeClr val="tx1"/>
                  </a:solidFill>
                  <a:latin typeface="+mn-lt"/>
                  <a:ea typeface="ＭＳ Ｐゴシック" charset="0"/>
                  <a:cs typeface="ＭＳ Ｐゴシック" charset="0"/>
                </a:defRPr>
              </a:lvl1pPr>
              <a:lvl2pPr marL="457200" indent="0" algn="l" defTabSz="457200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4"/>
                </a:buClr>
                <a:buFont typeface="Wingdings" charset="2"/>
                <a:buNone/>
                <a:defRPr sz="2800" b="0" i="0" kern="1200" baseline="0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2pPr>
              <a:lvl3pPr marL="914400" indent="0" algn="l" defTabSz="457200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4"/>
                </a:buClr>
                <a:buFont typeface="Wingdings" charset="2"/>
                <a:buNone/>
                <a:defRPr sz="2400" b="0" i="0" kern="1200" baseline="0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3pPr>
              <a:lvl4pPr marL="1371600" indent="0" algn="l" defTabSz="457200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4"/>
                </a:buClr>
                <a:buFont typeface="Wingdings" charset="2"/>
                <a:buNone/>
                <a:defRPr sz="2000" b="0" i="0" kern="1200" baseline="0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4pPr>
              <a:lvl5pPr marL="1828800" indent="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4242B"/>
                </a:buClr>
                <a:buFont typeface="Wingdings" charset="2"/>
                <a:buNone/>
                <a:defRPr sz="2000" b="0" i="0" kern="1200" baseline="0">
                  <a:solidFill>
                    <a:schemeClr val="tx1"/>
                  </a:solidFill>
                  <a:latin typeface="Arial" charset="0"/>
                  <a:ea typeface="ＭＳ Ｐゴシック" charset="0"/>
                  <a:cs typeface="+mn-cs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/>
                <a:t> </a:t>
              </a:r>
            </a:p>
          </p:txBody>
        </p: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60BB1C8-623D-CE03-FEDF-1B535045F044}"/>
              </a:ext>
            </a:extLst>
          </p:cNvPr>
          <p:cNvCxnSpPr/>
          <p:nvPr>
            <p:custDataLst>
              <p:tags r:id="rId2"/>
            </p:custDataLst>
          </p:nvPr>
        </p:nvCxnSpPr>
        <p:spPr bwMode="white">
          <a:xfrm>
            <a:off x="7200900" y="1695450"/>
            <a:ext cx="30163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D0108F2-785A-ABEC-6D7A-C269774B8F62}"/>
              </a:ext>
            </a:extLst>
          </p:cNvPr>
          <p:cNvCxnSpPr/>
          <p:nvPr>
            <p:custDataLst>
              <p:tags r:id="rId3"/>
            </p:custDataLst>
          </p:nvPr>
        </p:nvCxnSpPr>
        <p:spPr bwMode="white">
          <a:xfrm>
            <a:off x="7200900" y="2144713"/>
            <a:ext cx="30163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0" name="Straight Connector 509">
            <a:extLst>
              <a:ext uri="{FF2B5EF4-FFF2-40B4-BE49-F238E27FC236}">
                <a16:creationId xmlns:a16="http://schemas.microsoft.com/office/drawing/2014/main" id="{1D02E44B-C0B5-FA95-47A6-4202DC474CA7}"/>
              </a:ext>
            </a:extLst>
          </p:cNvPr>
          <p:cNvCxnSpPr/>
          <p:nvPr>
            <p:custDataLst>
              <p:tags r:id="rId4"/>
            </p:custDataLst>
          </p:nvPr>
        </p:nvCxnSpPr>
        <p:spPr bwMode="white">
          <a:xfrm>
            <a:off x="7200900" y="3040063"/>
            <a:ext cx="30163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Straight Connector 502">
            <a:extLst>
              <a:ext uri="{FF2B5EF4-FFF2-40B4-BE49-F238E27FC236}">
                <a16:creationId xmlns:a16="http://schemas.microsoft.com/office/drawing/2014/main" id="{09D46710-7E95-9541-6A56-65744B5829BE}"/>
              </a:ext>
            </a:extLst>
          </p:cNvPr>
          <p:cNvCxnSpPr/>
          <p:nvPr>
            <p:custDataLst>
              <p:tags r:id="rId5"/>
            </p:custDataLst>
          </p:nvPr>
        </p:nvCxnSpPr>
        <p:spPr bwMode="white">
          <a:xfrm>
            <a:off x="7200900" y="3459163"/>
            <a:ext cx="30163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1" name="Straight Connector 510">
            <a:extLst>
              <a:ext uri="{FF2B5EF4-FFF2-40B4-BE49-F238E27FC236}">
                <a16:creationId xmlns:a16="http://schemas.microsoft.com/office/drawing/2014/main" id="{5F27DFB2-363A-F7FF-AD58-FC0FB7C021DE}"/>
              </a:ext>
            </a:extLst>
          </p:cNvPr>
          <p:cNvCxnSpPr/>
          <p:nvPr>
            <p:custDataLst>
              <p:tags r:id="rId6"/>
            </p:custDataLst>
          </p:nvPr>
        </p:nvCxnSpPr>
        <p:spPr bwMode="white">
          <a:xfrm>
            <a:off x="7200900" y="2816225"/>
            <a:ext cx="30163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78DA32A-E9C1-356A-064F-202EC1DB01C3}"/>
              </a:ext>
            </a:extLst>
          </p:cNvPr>
          <p:cNvCxnSpPr/>
          <p:nvPr>
            <p:custDataLst>
              <p:tags r:id="rId7"/>
            </p:custDataLst>
          </p:nvPr>
        </p:nvCxnSpPr>
        <p:spPr bwMode="white">
          <a:xfrm>
            <a:off x="7200900" y="1247775"/>
            <a:ext cx="30163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5" name="Straight Connector 524">
            <a:extLst>
              <a:ext uri="{FF2B5EF4-FFF2-40B4-BE49-F238E27FC236}">
                <a16:creationId xmlns:a16="http://schemas.microsoft.com/office/drawing/2014/main" id="{49B46109-6964-663C-35D1-E326BA995C37}"/>
              </a:ext>
            </a:extLst>
          </p:cNvPr>
          <p:cNvCxnSpPr/>
          <p:nvPr>
            <p:custDataLst>
              <p:tags r:id="rId8"/>
            </p:custDataLst>
          </p:nvPr>
        </p:nvCxnSpPr>
        <p:spPr bwMode="white">
          <a:xfrm>
            <a:off x="7200900" y="2368550"/>
            <a:ext cx="30163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Straight Connector 508">
            <a:extLst>
              <a:ext uri="{FF2B5EF4-FFF2-40B4-BE49-F238E27FC236}">
                <a16:creationId xmlns:a16="http://schemas.microsoft.com/office/drawing/2014/main" id="{6BAFD100-69DD-42FB-ECC9-B9723803709E}"/>
              </a:ext>
            </a:extLst>
          </p:cNvPr>
          <p:cNvCxnSpPr/>
          <p:nvPr>
            <p:custDataLst>
              <p:tags r:id="rId9"/>
            </p:custDataLst>
          </p:nvPr>
        </p:nvCxnSpPr>
        <p:spPr bwMode="white">
          <a:xfrm>
            <a:off x="7200900" y="3263900"/>
            <a:ext cx="30163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2" name="Straight Connector 511">
            <a:extLst>
              <a:ext uri="{FF2B5EF4-FFF2-40B4-BE49-F238E27FC236}">
                <a16:creationId xmlns:a16="http://schemas.microsoft.com/office/drawing/2014/main" id="{9D288793-ADF4-841B-8D08-2E07B3D1E41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white">
          <a:xfrm>
            <a:off x="7200900" y="2592388"/>
            <a:ext cx="30163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707CE1B-5366-264F-25F4-28838C3BE30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white">
          <a:xfrm>
            <a:off x="7200900" y="1919288"/>
            <a:ext cx="30163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7FD2248-EF20-361A-AC51-B157FA1E68B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white">
          <a:xfrm>
            <a:off x="7200900" y="1471613"/>
            <a:ext cx="30163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8F3D5509-C828-9E13-FF5A-0B1074E8F261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10592320"/>
              </p:ext>
            </p:extLst>
          </p:nvPr>
        </p:nvGraphicFramePr>
        <p:xfrm>
          <a:off x="927100" y="1165225"/>
          <a:ext cx="7715250" cy="2376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D4C58693-DD42-A51B-0CFB-1D0AC74D235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546224" y="2819400"/>
            <a:ext cx="1746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7A89564-16AD-BBB5-9B0F-BD7F0EAE5A23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3292474" y="2819400"/>
            <a:ext cx="516160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6" name="Straight Connector 405">
            <a:extLst>
              <a:ext uri="{FF2B5EF4-FFF2-40B4-BE49-F238E27FC236}">
                <a16:creationId xmlns:a16="http://schemas.microsoft.com/office/drawing/2014/main" id="{9DC28000-D940-59A1-8294-91148C61CD3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8454082" y="2077821"/>
            <a:ext cx="0" cy="6778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9498B4A1-038D-9786-38FC-7F79F3BD4CA1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V="1">
            <a:off x="1352550" y="1260475"/>
            <a:ext cx="6772275" cy="444499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5" name="Text Placeholder 2">
            <a:extLst>
              <a:ext uri="{FF2B5EF4-FFF2-40B4-BE49-F238E27FC236}">
                <a16:creationId xmlns:a16="http://schemas.microsoft.com/office/drawing/2014/main" id="{B1B7DA33-905A-0169-53A3-9EF36374217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49259" y="2917833"/>
            <a:ext cx="2286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11FE047-7529-49D4-9259-F9819A84DEA5}" type="datetime'''''''''6''''9''''''''''''''''%'">
              <a:rPr lang="en-US" altLang="en-US" sz="105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</a:pPr>
              <a:t>69%</a:t>
            </a:fld>
            <a:endParaRPr lang="en-US" sz="1050" b="1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3345950-9165-1F58-AE8F-A752C01FF9F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20800" y="3492500"/>
            <a:ext cx="63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buClr>
                <a:srgbClr val="939598"/>
              </a:buClr>
              <a:defRPr/>
            </a:pPr>
            <a:fld id="{1B174A25-3069-44DA-ABE5-AA8B4FB22012}" type="datetime'''''''''''''''''''''''''''''''''1'''''''''''''''''''''''''">
              <a:rPr lang="en-US" altLang="en-US" sz="800" b="1" smtClean="0">
                <a:solidFill>
                  <a:srgbClr val="002060"/>
                </a:solidFill>
              </a:rPr>
              <a:pPr lvl="0" algn="ctr">
                <a:spcBef>
                  <a:spcPct val="0"/>
                </a:spcBef>
                <a:buClr>
                  <a:srgbClr val="939598"/>
                </a:buClr>
                <a:defRPr/>
              </a:pPr>
              <a:t>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ＭＳ Ｐゴシック" panose="020B0600070205080204" pitchFamily="34" charset="-128"/>
            </a:endParaRPr>
          </a:p>
        </p:txBody>
      </p:sp>
      <p:sp>
        <p:nvSpPr>
          <p:cNvPr id="494" name="Text Placeholder 2">
            <a:extLst>
              <a:ext uri="{FF2B5EF4-FFF2-40B4-BE49-F238E27FC236}">
                <a16:creationId xmlns:a16="http://schemas.microsoft.com/office/drawing/2014/main" id="{0D56C3A6-D519-9FD7-71F7-F44F7B01F5E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504335" y="3128204"/>
            <a:ext cx="2286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BD85AEE-DBCC-4715-9C1D-3C7DDFDE8A4F}" type="datetime'''''''''''6''''''''''''4''''''''''''''''''''''%'''''''''">
              <a:rPr lang="en-US" altLang="en-US" sz="105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</a:pPr>
              <a:t>64%</a:t>
            </a:fld>
            <a:endParaRPr lang="en-US" sz="1050" b="1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B88C70C1-775E-7C07-F358-10E8710A6E7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265238" y="1820863"/>
            <a:ext cx="1762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F94E22D-FBF4-4B23-82CB-0358DC06DB35}" type="datetime'''''''''3'''''''''''''',''''''''''''0'''''''''''''''''''''">
              <a:rPr lang="en-US" altLang="en-US" sz="900" b="1" smtClean="0">
                <a:ea typeface="+mn-ea"/>
                <a:cs typeface="+mn-cs"/>
              </a:rPr>
              <a:pPr algn="ctr">
                <a:spcBef>
                  <a:spcPct val="0"/>
                </a:spcBef>
              </a:pPr>
              <a:t>3,0</a:t>
            </a:fld>
            <a:endParaRPr lang="en-US" sz="900" b="1">
              <a:ea typeface="+mn-ea"/>
              <a:cs typeface="+mn-cs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CDA60440-B9D0-2EE7-83BB-57382D764A5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319761" y="1694377"/>
            <a:ext cx="1762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F433FFA-1902-47AE-92C7-B358918E1AF0}" type="datetime'3'''''',1'''''">
              <a:rPr lang="en-US" altLang="en-US" sz="900" b="1" smtClean="0">
                <a:ea typeface="+mn-ea"/>
                <a:cs typeface="+mn-cs"/>
              </a:rPr>
              <a:pPr algn="ctr">
                <a:spcBef>
                  <a:spcPct val="0"/>
                </a:spcBef>
              </a:pPr>
              <a:t>3,1</a:t>
            </a:fld>
            <a:endParaRPr lang="en-US" sz="900" b="1">
              <a:ea typeface="+mn-ea"/>
              <a:cs typeface="+mn-cs"/>
            </a:endParaRPr>
          </a:p>
        </p:txBody>
      </p:sp>
      <p:sp>
        <p:nvSpPr>
          <p:cNvPr id="490" name="Text Placeholder 2">
            <a:extLst>
              <a:ext uri="{FF2B5EF4-FFF2-40B4-BE49-F238E27FC236}">
                <a16:creationId xmlns:a16="http://schemas.microsoft.com/office/drawing/2014/main" id="{2DAED559-C6D6-E017-63BF-2F38B290ED5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37764" y="2649957"/>
            <a:ext cx="2286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7325BA7-101F-4D9C-93F5-E83116B8A552}" type="datetime'''''7''''''''''''''''5''''''''''''''''''''''''''''''''''%'''">
              <a:rPr lang="en-US" altLang="en-US" sz="105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</a:pPr>
              <a:t>75%</a:t>
            </a:fld>
            <a:endParaRPr lang="en-US" sz="1050" b="1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859EE5D1-4530-9581-A310-EAD21205E5A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006149" y="1845190"/>
            <a:ext cx="1762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4C2A65E-10A6-4A8A-8A52-FB770C6FC398}" type="datetime'''''''''''''''''''''''3,''''''0'''''''''''''''''''''''''">
              <a:rPr lang="en-US" altLang="en-US" sz="900" b="1" smtClean="0">
                <a:ea typeface="+mn-ea"/>
                <a:cs typeface="+mn-cs"/>
              </a:rPr>
              <a:pPr algn="ctr">
                <a:spcBef>
                  <a:spcPct val="0"/>
                </a:spcBef>
              </a:pPr>
              <a:t>3,0</a:t>
            </a:fld>
            <a:endParaRPr lang="en-US" sz="900" b="1"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76CD40B-9203-BA18-5A97-A909A33155F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697163" y="3492500"/>
            <a:ext cx="63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buClr>
                <a:srgbClr val="939598"/>
              </a:buClr>
              <a:defRPr/>
            </a:pPr>
            <a:fld id="{8CEFCCC3-A356-4F23-A5C9-DCDB90455399}" type="datetime'''''''''''''''''''''3'''''''''''''''''''''''''''''''''">
              <a:rPr lang="en-US" altLang="en-US" sz="800" b="1" smtClean="0">
                <a:solidFill>
                  <a:srgbClr val="002060"/>
                </a:solidFill>
              </a:rPr>
              <a:pPr lvl="0" algn="ctr">
                <a:spcBef>
                  <a:spcPct val="0"/>
                </a:spcBef>
                <a:buClr>
                  <a:srgbClr val="939598"/>
                </a:buClr>
                <a:defRPr/>
              </a:pPr>
              <a:t>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ＭＳ Ｐゴシック" panose="020B0600070205080204" pitchFamily="34" charset="-128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D4305233-E400-0877-CAAE-4C0CA9F5717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837632" y="1688267"/>
            <a:ext cx="1762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BFE0396-96CB-45AE-A0D5-059942CA2FB4}" type="datetime'''''''''''3,''''''''''''''''''''''''2'''''''''''''">
              <a:rPr lang="en-US" altLang="en-US" sz="900" b="1" smtClean="0">
                <a:ea typeface="+mn-ea"/>
                <a:cs typeface="+mn-cs"/>
              </a:rPr>
              <a:pPr algn="ctr">
                <a:spcBef>
                  <a:spcPct val="0"/>
                </a:spcBef>
              </a:pPr>
              <a:t>3,2</a:t>
            </a:fld>
            <a:endParaRPr lang="en-US" sz="900" b="1">
              <a:ea typeface="+mn-ea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55FFF52-7688-A471-5C4B-AF0DFB41E4C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384550" y="3492500"/>
            <a:ext cx="63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buClr>
                <a:srgbClr val="939598"/>
              </a:buClr>
              <a:defRPr/>
            </a:pPr>
            <a:fld id="{B31BFD5B-81DA-4DA7-88C6-429B74947276}" type="datetime'''''''''''''''''''''''''''4'''''''''''''''''''''''''''''''''">
              <a:rPr lang="en-US" altLang="en-US" sz="800" b="1" smtClean="0">
                <a:solidFill>
                  <a:srgbClr val="002060"/>
                </a:solidFill>
              </a:rPr>
              <a:pPr lvl="0" algn="ctr">
                <a:spcBef>
                  <a:spcPct val="0"/>
                </a:spcBef>
                <a:buClr>
                  <a:srgbClr val="939598"/>
                </a:buClr>
                <a:defRPr/>
              </a:pPr>
              <a:t>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ＭＳ Ｐゴシック" panose="020B0600070205080204" pitchFamily="34" charset="-128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30403B02-A87D-8B8A-288B-2495FDF86F9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681449" y="1892778"/>
            <a:ext cx="1762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C66A904-B5B6-4A6A-B51F-2447F7C2871B}" type="datetime'''''''''''''''''''''2'''''''''',''''''''''''9'''''''''">
              <a:rPr lang="en-US" altLang="en-US" sz="900" b="1" smtClean="0">
                <a:ea typeface="+mn-ea"/>
                <a:cs typeface="+mn-cs"/>
              </a:rPr>
              <a:pPr algn="ctr">
                <a:spcBef>
                  <a:spcPct val="0"/>
                </a:spcBef>
              </a:pPr>
              <a:t>2,9</a:t>
            </a:fld>
            <a:endParaRPr lang="en-US" sz="900" b="1">
              <a:ea typeface="+mn-ea"/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2D2AE5A-ABAA-9F67-CECD-B2F6E2393BD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073525" y="3492500"/>
            <a:ext cx="63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buClr>
                <a:srgbClr val="939598"/>
              </a:buClr>
              <a:defRPr/>
            </a:pPr>
            <a:fld id="{9914AF93-F1C4-4F06-A25D-4A29BD9A19C3}" type="datetime'''5'''''''''''''''''''''''''''''''''''''''''''''''''''''">
              <a:rPr lang="en-US" altLang="en-US" sz="800" b="1" smtClean="0">
                <a:solidFill>
                  <a:srgbClr val="002060"/>
                </a:solidFill>
              </a:rPr>
              <a:pPr lvl="0" algn="ctr">
                <a:spcBef>
                  <a:spcPct val="0"/>
                </a:spcBef>
                <a:buClr>
                  <a:srgbClr val="939598"/>
                </a:buClr>
                <a:defRPr/>
              </a:pPr>
              <a:t>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ＭＳ Ｐゴシック" panose="020B0600070205080204" pitchFamily="34" charset="-128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CE739F-E59A-B8D1-E556-D226B7E40E1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009775" y="3492500"/>
            <a:ext cx="63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buClr>
                <a:srgbClr val="939598"/>
              </a:buClr>
              <a:defRPr/>
            </a:pPr>
            <a:fld id="{9AB83D0F-B8F2-4BC6-8621-1C7B1DB104FF}" type="datetime'''''''''''''''''''''''''''2'''''''''''''''''''''''''''''">
              <a:rPr lang="en-US" altLang="en-US" sz="800" b="1" smtClean="0">
                <a:solidFill>
                  <a:srgbClr val="002060"/>
                </a:solidFill>
              </a:rPr>
              <a:pPr lvl="0" algn="ctr">
                <a:spcBef>
                  <a:spcPct val="0"/>
                </a:spcBef>
                <a:buClr>
                  <a:srgbClr val="939598"/>
                </a:buClr>
                <a:defRPr/>
              </a:pPr>
              <a:t>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ＭＳ Ｐゴシック" panose="020B0600070205080204" pitchFamily="34" charset="-128"/>
            </a:endParaRP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7AC416E9-BAF6-B7DA-F64D-849E2CDA15B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501975" y="1953274"/>
            <a:ext cx="1762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B3D6487-71F6-442B-B270-401CFD7BBA78}" type="datetime'''''''''2'''''''''''''''''''''''',''''''9'''''''''''''">
              <a:rPr lang="en-US" altLang="en-US" sz="900" b="1" smtClean="0">
                <a:ea typeface="+mn-ea"/>
                <a:cs typeface="+mn-cs"/>
              </a:rPr>
              <a:pPr algn="ctr">
                <a:spcBef>
                  <a:spcPct val="0"/>
                </a:spcBef>
              </a:pPr>
              <a:t>2,9</a:t>
            </a:fld>
            <a:endParaRPr lang="en-US" sz="900" b="1">
              <a:ea typeface="+mn-ea"/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43078B0-2646-8478-33F3-6E547E3862C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760913" y="3492500"/>
            <a:ext cx="63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buClr>
                <a:srgbClr val="939598"/>
              </a:buClr>
              <a:defRPr/>
            </a:pPr>
            <a:fld id="{A6667C36-5571-48FE-BC9D-6C35447A8E84}" type="datetime'''''''''''''''''''6'''''''''''''''''''''''''''">
              <a:rPr lang="en-US" altLang="en-US" sz="800" b="1" smtClean="0">
                <a:solidFill>
                  <a:srgbClr val="002060"/>
                </a:solidFill>
              </a:rPr>
              <a:pPr lvl="0" algn="ctr">
                <a:spcBef>
                  <a:spcPct val="0"/>
                </a:spcBef>
                <a:buClr>
                  <a:srgbClr val="939598"/>
                </a:buClr>
                <a:defRPr/>
              </a:pPr>
              <a:t>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ＭＳ Ｐゴシック" panose="020B0600070205080204" pitchFamily="34" charset="-128"/>
            </a:endParaRP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C6A58463-88B3-048F-702C-6AC18A94038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168499" y="1809604"/>
            <a:ext cx="1762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089FD86-E7A2-40D9-9E5F-1BF3F1BEE694}" type="datetime'''3'''''''''''''''''''''''''''''''''',''''''''''0'''''''''''''">
              <a:rPr lang="en-US" altLang="en-US" sz="900" b="1" smtClean="0">
                <a:ea typeface="+mn-ea"/>
                <a:cs typeface="+mn-cs"/>
              </a:rPr>
              <a:pPr algn="ctr">
                <a:spcBef>
                  <a:spcPct val="0"/>
                </a:spcBef>
              </a:pPr>
              <a:t>3,0</a:t>
            </a:fld>
            <a:endParaRPr lang="en-US" sz="900" b="1">
              <a:ea typeface="+mn-ea"/>
              <a:cs typeface="+mn-cs"/>
            </a:endParaRPr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EAC1F12E-8759-9550-3682-0E2E243A0D7E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142956" y="1596364"/>
            <a:ext cx="1762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8050323-171A-45B0-9ED6-77D51C986165}" type="datetime'3'''''''',''''''''''2'''''''''''''''">
              <a:rPr lang="en-US" altLang="en-US" sz="900" b="1" smtClean="0">
                <a:ea typeface="+mn-ea"/>
                <a:cs typeface="+mn-cs"/>
              </a:rPr>
              <a:pPr algn="ctr">
                <a:spcBef>
                  <a:spcPct val="0"/>
                </a:spcBef>
              </a:pPr>
              <a:t>3,2</a:t>
            </a:fld>
            <a:endParaRPr lang="en-US" sz="900" b="1">
              <a:ea typeface="+mn-ea"/>
              <a:cs typeface="+mn-cs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3AD95FC-59EE-C836-FEE8-EFBA66994A5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137275" y="3492500"/>
            <a:ext cx="63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buClr>
                <a:srgbClr val="939598"/>
              </a:buClr>
              <a:defRPr/>
            </a:pPr>
            <a:fld id="{7F7B5BB4-206B-43BE-A084-21D0AA909D87}" type="datetime'''''''''''''''''''''''''''''''''''''''''''8'''''''''''''''">
              <a:rPr lang="en-US" altLang="en-US" sz="800" b="1" smtClean="0">
                <a:solidFill>
                  <a:srgbClr val="002060"/>
                </a:solidFill>
              </a:rPr>
              <a:pPr lvl="0" algn="ctr">
                <a:spcBef>
                  <a:spcPct val="0"/>
                </a:spcBef>
                <a:buClr>
                  <a:srgbClr val="939598"/>
                </a:buClr>
                <a:defRPr/>
              </a:pPr>
              <a:t>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ＭＳ Ｐゴシック" panose="020B0600070205080204" pitchFamily="34" charset="-128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3419054-4423-AABD-AA6A-6E386A93F4C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824663" y="3492500"/>
            <a:ext cx="63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buClr>
                <a:srgbClr val="939598"/>
              </a:buClr>
              <a:defRPr/>
            </a:pPr>
            <a:fld id="{D8979218-729B-4E71-8330-462649084E21}" type="datetime'''''''''''9'''''''''''''''''''''''''''''''''''''''''">
              <a:rPr lang="en-US" altLang="en-US" sz="800" b="1" smtClean="0">
                <a:solidFill>
                  <a:srgbClr val="002060"/>
                </a:solidFill>
              </a:rPr>
              <a:pPr lvl="0" algn="ctr">
                <a:spcBef>
                  <a:spcPct val="0"/>
                </a:spcBef>
                <a:buClr>
                  <a:srgbClr val="939598"/>
                </a:buClr>
                <a:defRPr/>
              </a:pPr>
              <a:t>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ＭＳ Ｐゴシック" panose="020B0600070205080204" pitchFamily="34" charset="-128"/>
            </a:endParaRPr>
          </a:p>
        </p:txBody>
      </p:sp>
      <p:sp>
        <p:nvSpPr>
          <p:cNvPr id="492" name="Text Placeholder 2">
            <a:extLst>
              <a:ext uri="{FF2B5EF4-FFF2-40B4-BE49-F238E27FC236}">
                <a16:creationId xmlns:a16="http://schemas.microsoft.com/office/drawing/2014/main" id="{FB9DD3DB-8D4E-9650-008E-A8BEE44DDC1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837632" y="2692288"/>
            <a:ext cx="2286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0630F50-7955-462D-B979-083907B06758}" type="datetime'''''''''7''''''''''3''''''''''''''''''''''%'">
              <a:rPr lang="en-US" altLang="en-US" sz="105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</a:pPr>
              <a:t>73%</a:t>
            </a:fld>
            <a:endParaRPr lang="en-US" sz="1050" b="1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489" name="Text Placeholder 2">
            <a:extLst>
              <a:ext uri="{FF2B5EF4-FFF2-40B4-BE49-F238E27FC236}">
                <a16:creationId xmlns:a16="http://schemas.microsoft.com/office/drawing/2014/main" id="{CC52E64A-4776-47E7-C827-B349815EA84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238250" y="2643188"/>
            <a:ext cx="2286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0DC70F4-C81E-4906-A52B-6F599EA1E69D}" type="datetime'''''7''''''''''''''''''''5''''''%'''''''''''''">
              <a:rPr lang="en-US" altLang="en-US" sz="105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</a:pPr>
              <a:t>75%</a:t>
            </a:fld>
            <a:endParaRPr lang="en-US" sz="1050" b="1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491" name="Text Placeholder 2">
            <a:extLst>
              <a:ext uri="{FF2B5EF4-FFF2-40B4-BE49-F238E27FC236}">
                <a16:creationId xmlns:a16="http://schemas.microsoft.com/office/drawing/2014/main" id="{3B130489-A3D4-F85F-8217-8426B3CE2D3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997523" y="2570045"/>
            <a:ext cx="2286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76BA31B-C2A7-4216-B531-4C26C8842108}" type="datetime'7''''''''7''''''''''''''''''%'''''''''''''">
              <a:rPr lang="en-US" altLang="en-US" sz="105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</a:pPr>
              <a:t>77%</a:t>
            </a:fld>
            <a:endParaRPr lang="en-US" sz="1050" b="1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493" name="Text Placeholder 2">
            <a:extLst>
              <a:ext uri="{FF2B5EF4-FFF2-40B4-BE49-F238E27FC236}">
                <a16:creationId xmlns:a16="http://schemas.microsoft.com/office/drawing/2014/main" id="{D330B3A7-5665-1AA7-B103-31BE5927775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678363" y="2870429"/>
            <a:ext cx="2286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5223F95-7461-4B37-977D-40E4A02B4902}" type="datetime'''''''''''''''''''''7''''''0''''%'''''''''''''''''''''">
              <a:rPr lang="en-US" altLang="en-US" sz="105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</a:pPr>
              <a:t>70%</a:t>
            </a:fld>
            <a:endParaRPr lang="en-US" sz="1050" b="1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497" name="Text Placeholder 2">
            <a:extLst>
              <a:ext uri="{FF2B5EF4-FFF2-40B4-BE49-F238E27FC236}">
                <a16:creationId xmlns:a16="http://schemas.microsoft.com/office/drawing/2014/main" id="{71E9CC50-E056-7019-CEA0-D9B407803F8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8010525" y="1945608"/>
            <a:ext cx="2286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9A46F63-137F-4FC2-99D3-6B2F11DBDD7F}" type="datetime'9''''''''''''''''''''''''''''''''''''''''''''''''0''''%'''''''">
              <a:rPr lang="en-US" altLang="en-US" sz="105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</a:pPr>
              <a:t>90%</a:t>
            </a:fld>
            <a:endParaRPr lang="en-US" sz="1050" b="1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6A522EA5-DC4F-613A-4A36-DF0AA837F60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981022" y="1469616"/>
            <a:ext cx="1762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4134984-3516-49D0-BF60-5A868B492A0E}" type="datetime'3'''''''''''',''''''''''''''''''''''''''''''''5'''''''''">
              <a:rPr lang="en-US" altLang="en-US" sz="900" b="1" smtClean="0">
                <a:ea typeface="+mn-ea"/>
                <a:cs typeface="+mn-cs"/>
              </a:rPr>
              <a:pPr algn="ctr">
                <a:spcBef>
                  <a:spcPct val="0"/>
                </a:spcBef>
              </a:pPr>
              <a:t>3,5</a:t>
            </a:fld>
            <a:endParaRPr lang="en-US" sz="900" b="1">
              <a:ea typeface="+mn-ea"/>
              <a:cs typeface="+mn-cs"/>
            </a:endParaRPr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DD8D3608-49EC-7359-A737-9443B74BF4E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167894" y="2242019"/>
            <a:ext cx="22860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6A288EC-EFF2-4E4E-AEF2-C91595104FED}" type="datetime'''''''''''''''''''''''''''84%'''''''''''''''''''''">
              <a:rPr lang="en-US" altLang="en-US" sz="1050" b="1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</a:pPr>
              <a:t>84%</a:t>
            </a:fld>
            <a:endParaRPr lang="en-US" sz="1050" b="1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B512F98-3168-F353-165B-174C6C0E7E9C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448300" y="3492500"/>
            <a:ext cx="635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buClr>
                <a:srgbClr val="939598"/>
              </a:buClr>
              <a:defRPr/>
            </a:pPr>
            <a:fld id="{A2DF4DEB-2138-44CE-AA63-9E7AE348846D}" type="datetime'''''''''''''''''''''''''7'''''''''''''">
              <a:rPr lang="en-US" altLang="en-US" sz="800" b="1" smtClean="0">
                <a:solidFill>
                  <a:srgbClr val="002060"/>
                </a:solidFill>
              </a:rPr>
              <a:pPr lvl="0" algn="ctr">
                <a:spcBef>
                  <a:spcPct val="0"/>
                </a:spcBef>
                <a:buClr>
                  <a:srgbClr val="939598"/>
                </a:buClr>
                <a:defRPr/>
              </a:pPr>
              <a:t>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ＭＳ Ｐゴシック" panose="020B0600070205080204" pitchFamily="34" charset="-128"/>
            </a:endParaRPr>
          </a:p>
        </p:txBody>
      </p:sp>
      <p:sp>
        <p:nvSpPr>
          <p:cNvPr id="400" name="Text Placeholder 2">
            <a:extLst>
              <a:ext uri="{FF2B5EF4-FFF2-40B4-BE49-F238E27FC236}">
                <a16:creationId xmlns:a16="http://schemas.microsoft.com/office/drawing/2014/main" id="{7CE9AE95-A939-FF1D-7788-8FAAF116AECC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8523181" y="2242019"/>
            <a:ext cx="586800" cy="428400"/>
          </a:xfrm>
          <a:prstGeom prst="ellipse">
            <a:avLst/>
          </a:prstGeom>
          <a:solidFill>
            <a:srgbClr val="F26522"/>
          </a:solidFill>
          <a:ln w="9525" algn="ctr">
            <a:noFill/>
          </a:ln>
          <a:effectLst/>
          <a:extLs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3EF0A3A-1FB5-4566-B92A-BBDDE26B9B70}" type="datetime'''''''''''''''''''''''''+1''''''''''''''''''''''5''''''''%'">
              <a:rPr lang="en-US" altLang="en-US" sz="1400" b="1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</a:pPr>
              <a:t>+15%</a:t>
            </a:fld>
            <a:endParaRPr lang="en-US" sz="1050" b="1">
              <a:solidFill>
                <a:schemeClr val="bg1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324" name="Text Placeholder 2">
            <a:extLst>
              <a:ext uri="{FF2B5EF4-FFF2-40B4-BE49-F238E27FC236}">
                <a16:creationId xmlns:a16="http://schemas.microsoft.com/office/drawing/2014/main" id="{200A6830-2BE4-F290-D36A-9E4193860C8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217038" y="1042610"/>
            <a:ext cx="581462" cy="432263"/>
          </a:xfrm>
          <a:prstGeom prst="ellipse">
            <a:avLst/>
          </a:prstGeom>
          <a:solidFill>
            <a:srgbClr val="F26522"/>
          </a:solidFill>
          <a:ln w="9525" algn="ctr">
            <a:noFill/>
          </a:ln>
          <a:effectLst/>
          <a:extLs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F6AAA83-C659-4BF8-AFCC-7CC0DEE7BBFA}" type="datetime'''''''''''''''+''''1''''''6''''''''''''''''''''''%'''''''''">
              <a:rPr lang="en-US" altLang="en-US" sz="1400" b="1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</a:pPr>
              <a:t>+16%</a:t>
            </a:fld>
            <a:endParaRPr lang="en-US" sz="900" b="1">
              <a:solidFill>
                <a:schemeClr val="bg1"/>
              </a:solidFill>
              <a:ea typeface="ＭＳ Ｐゴシック" panose="020B0600070205080204" pitchFamily="34" charset="-128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E30D664-991C-C7C8-1BF8-8C8BD47DF442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284163" y="1219200"/>
            <a:ext cx="160338" cy="0"/>
          </a:xfrm>
          <a:prstGeom prst="line">
            <a:avLst/>
          </a:prstGeom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2" name="Rectangle 301">
            <a:extLst>
              <a:ext uri="{FF2B5EF4-FFF2-40B4-BE49-F238E27FC236}">
                <a16:creationId xmlns:a16="http://schemas.microsoft.com/office/drawing/2014/main" id="{68EA12B5-7C72-A7B4-CA9A-E3F90E573910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325438" y="1341438"/>
            <a:ext cx="125413" cy="936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80975" indent="-180975" algn="l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050" b="0" i="0">
              <a:solidFill>
                <a:schemeClr val="bg1"/>
              </a:solidFill>
              <a:effectLst/>
            </a:endParaRPr>
          </a:p>
        </p:txBody>
      </p:sp>
      <p:sp>
        <p:nvSpPr>
          <p:cNvPr id="203" name="Diamond 202">
            <a:extLst>
              <a:ext uri="{FF2B5EF4-FFF2-40B4-BE49-F238E27FC236}">
                <a16:creationId xmlns:a16="http://schemas.microsoft.com/office/drawing/2014/main" id="{DA4303AA-3710-DA56-8357-4918664BDB8C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344488" y="1200150"/>
            <a:ext cx="38100" cy="38100"/>
          </a:xfrm>
          <a:prstGeom prst="diamond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80975" indent="-180975" algn="l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050" b="0" i="0">
              <a:solidFill>
                <a:schemeClr val="bg1"/>
              </a:solidFill>
              <a:effectLst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C3CFC2C-6ED9-8FFC-B02A-60F6D2ED8EB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501650" y="1162050"/>
            <a:ext cx="833438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buClr>
                <a:srgbClr val="939598"/>
              </a:buClr>
              <a:defRPr/>
            </a:pPr>
            <a:fld id="{5F10B1ED-4B8B-45F4-B915-03AA67158264}" type="datetime'Av''e''''r''age'' #'''''' of ''''AN''C'''''' vi''''''''sit''s'">
              <a:rPr lang="en-US" altLang="en-US" sz="700" smtClean="0">
                <a:solidFill>
                  <a:srgbClr val="00558F"/>
                </a:solidFill>
              </a:rPr>
              <a:pPr lvl="0">
                <a:spcBef>
                  <a:spcPct val="0"/>
                </a:spcBef>
                <a:buClr>
                  <a:srgbClr val="939598"/>
                </a:buClr>
                <a:defRPr/>
              </a:pPr>
              <a:t>Average # of ANC visits</a:t>
            </a:fld>
            <a:endParaRPr kumimoji="0" lang="en-US" sz="700" b="0" i="0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ea typeface="ＭＳ Ｐゴシック" panose="020B0600070205080204" pitchFamily="34" charset="-128"/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61FF31C8-BFF1-ABD7-FB7A-60E2D5D541E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501650" y="1330325"/>
            <a:ext cx="884238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lc="http://schemas.openxmlformats.org/drawingml/2006/lockedCanvas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buClr>
                <a:srgbClr val="939598"/>
              </a:buClr>
              <a:defRPr/>
            </a:pPr>
            <a:fld id="{EFC6E6E2-0198-485A-84F0-E171685D7CEA}" type="datetime'''%''''of PJs ''''w''ith A''N''C'' pro''''f''''''i''l''e'''''">
              <a:rPr lang="en-US" altLang="en-US" sz="700" smtClean="0">
                <a:solidFill>
                  <a:srgbClr val="00558F"/>
                </a:solidFill>
              </a:rPr>
              <a:pPr lvl="0">
                <a:spcBef>
                  <a:spcPct val="0"/>
                </a:spcBef>
                <a:buClr>
                  <a:srgbClr val="939598"/>
                </a:buClr>
                <a:defRPr/>
              </a:pPr>
              <a:t>%of PJs with ANC profile</a:t>
            </a:fld>
            <a:endParaRPr kumimoji="0" lang="en-US" sz="700" b="0" i="0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ea typeface="ＭＳ Ｐゴシック" panose="020B0600070205080204" pitchFamily="34" charset="-128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52354B1-E7CC-791A-E44C-D1EF7F163DC3}"/>
              </a:ext>
            </a:extLst>
          </p:cNvPr>
          <p:cNvSpPr txBox="1"/>
          <p:nvPr/>
        </p:nvSpPr>
        <p:spPr>
          <a:xfrm>
            <a:off x="0" y="726859"/>
            <a:ext cx="7201647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fontAlgn="b">
              <a:spcBef>
                <a:spcPts val="0"/>
              </a:spcBef>
              <a:spcAft>
                <a:spcPts val="0"/>
              </a:spcAft>
              <a:defRPr sz="1200" b="1" u="none" strike="noStrike">
                <a:effectLst/>
              </a:defRPr>
            </a:lvl1pPr>
          </a:lstStyle>
          <a:p>
            <a:pPr marL="0" marR="0" lvl="0" indent="0" algn="l" defTabSz="457200" rtl="0" eaLnBrk="0" fontAlgn="b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00558F"/>
                </a:solidFill>
              </a:rPr>
              <a:t>Pregnancy journey (PJ) ANC adherence an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% of PJs with ANC profile* over time </a:t>
            </a:r>
          </a:p>
          <a:p>
            <a:pPr marL="0" marR="0" lvl="0" indent="0" algn="l" defTabSz="457200" rtl="0" eaLnBrk="0" fontAlgn="b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*refers to a set of laboratory tests performed during pregnancy including Hb, syphilis, HIV, blood glucose, urine, TB tests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C6400AB7-6E49-5001-76DD-51EE07B53DF4}"/>
              </a:ext>
            </a:extLst>
          </p:cNvPr>
          <p:cNvSpPr txBox="1"/>
          <p:nvPr/>
        </p:nvSpPr>
        <p:spPr>
          <a:xfrm>
            <a:off x="46684" y="3732213"/>
            <a:ext cx="1122178" cy="1238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fontAlgn="b">
              <a:spcBef>
                <a:spcPts val="0"/>
              </a:spcBef>
              <a:spcAft>
                <a:spcPts val="0"/>
              </a:spcAft>
              <a:defRPr sz="1200" b="1" u="none" strike="noStrike">
                <a:effectLst/>
              </a:defRPr>
            </a:lvl1pPr>
          </a:lstStyle>
          <a:p>
            <a:pPr marL="0" marR="0" lvl="0" indent="0" algn="l" defTabSz="457200" rtl="0" eaLnBrk="0" fontAlgn="b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# clinics participating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4CBDE8BB-748B-76FF-7FF2-29E4C11B1CBB}"/>
              </a:ext>
            </a:extLst>
          </p:cNvPr>
          <p:cNvSpPr txBox="1"/>
          <p:nvPr/>
        </p:nvSpPr>
        <p:spPr>
          <a:xfrm>
            <a:off x="41275" y="3960813"/>
            <a:ext cx="1122178" cy="12223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fontAlgn="b">
              <a:spcBef>
                <a:spcPts val="0"/>
              </a:spcBef>
              <a:spcAft>
                <a:spcPts val="0"/>
              </a:spcAft>
              <a:defRPr sz="1200" b="1" u="none" strike="noStrike">
                <a:effectLst/>
              </a:defRPr>
            </a:lvl1pPr>
          </a:lstStyle>
          <a:p>
            <a:pPr marL="0" marR="0" lvl="0" indent="0" algn="l" defTabSz="457200" rtl="0" eaLnBrk="0" fontAlgn="b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# of completed PJs</a:t>
            </a:r>
          </a:p>
        </p:txBody>
      </p:sp>
      <p:graphicFrame>
        <p:nvGraphicFramePr>
          <p:cNvPr id="305" name="Table 305">
            <a:extLst>
              <a:ext uri="{FF2B5EF4-FFF2-40B4-BE49-F238E27FC236}">
                <a16:creationId xmlns:a16="http://schemas.microsoft.com/office/drawing/2014/main" id="{131BD14B-F1D0-8A15-F644-EE85A3E661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814630"/>
              </p:ext>
            </p:extLst>
          </p:nvPr>
        </p:nvGraphicFramePr>
        <p:xfrm>
          <a:off x="1003299" y="3690938"/>
          <a:ext cx="7522560" cy="647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35840">
                  <a:extLst>
                    <a:ext uri="{9D8B030D-6E8A-4147-A177-3AD203B41FA5}">
                      <a16:colId xmlns:a16="http://schemas.microsoft.com/office/drawing/2014/main" val="2513323535"/>
                    </a:ext>
                  </a:extLst>
                </a:gridCol>
                <a:gridCol w="835840">
                  <a:extLst>
                    <a:ext uri="{9D8B030D-6E8A-4147-A177-3AD203B41FA5}">
                      <a16:colId xmlns:a16="http://schemas.microsoft.com/office/drawing/2014/main" val="2882363360"/>
                    </a:ext>
                  </a:extLst>
                </a:gridCol>
                <a:gridCol w="835840">
                  <a:extLst>
                    <a:ext uri="{9D8B030D-6E8A-4147-A177-3AD203B41FA5}">
                      <a16:colId xmlns:a16="http://schemas.microsoft.com/office/drawing/2014/main" val="3055051772"/>
                    </a:ext>
                  </a:extLst>
                </a:gridCol>
                <a:gridCol w="835840">
                  <a:extLst>
                    <a:ext uri="{9D8B030D-6E8A-4147-A177-3AD203B41FA5}">
                      <a16:colId xmlns:a16="http://schemas.microsoft.com/office/drawing/2014/main" val="333189347"/>
                    </a:ext>
                  </a:extLst>
                </a:gridCol>
                <a:gridCol w="835840">
                  <a:extLst>
                    <a:ext uri="{9D8B030D-6E8A-4147-A177-3AD203B41FA5}">
                      <a16:colId xmlns:a16="http://schemas.microsoft.com/office/drawing/2014/main" val="3313028475"/>
                    </a:ext>
                  </a:extLst>
                </a:gridCol>
                <a:gridCol w="835840">
                  <a:extLst>
                    <a:ext uri="{9D8B030D-6E8A-4147-A177-3AD203B41FA5}">
                      <a16:colId xmlns:a16="http://schemas.microsoft.com/office/drawing/2014/main" val="770858590"/>
                    </a:ext>
                  </a:extLst>
                </a:gridCol>
                <a:gridCol w="835840">
                  <a:extLst>
                    <a:ext uri="{9D8B030D-6E8A-4147-A177-3AD203B41FA5}">
                      <a16:colId xmlns:a16="http://schemas.microsoft.com/office/drawing/2014/main" val="3549978626"/>
                    </a:ext>
                  </a:extLst>
                </a:gridCol>
                <a:gridCol w="835840">
                  <a:extLst>
                    <a:ext uri="{9D8B030D-6E8A-4147-A177-3AD203B41FA5}">
                      <a16:colId xmlns:a16="http://schemas.microsoft.com/office/drawing/2014/main" val="3613699756"/>
                    </a:ext>
                  </a:extLst>
                </a:gridCol>
                <a:gridCol w="835840">
                  <a:extLst>
                    <a:ext uri="{9D8B030D-6E8A-4147-A177-3AD203B41FA5}">
                      <a16:colId xmlns:a16="http://schemas.microsoft.com/office/drawing/2014/main" val="1519241468"/>
                    </a:ext>
                  </a:extLst>
                </a:gridCol>
              </a:tblGrid>
              <a:tr h="21590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399636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,9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,99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,09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,10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48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7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20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29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9178913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800" b="0" i="0" u="none" strike="noStrike" kern="120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1099491"/>
                  </a:ext>
                </a:extLst>
              </a:tr>
            </a:tbl>
          </a:graphicData>
        </a:graphic>
      </p:graphicFrame>
      <p:sp>
        <p:nvSpPr>
          <p:cNvPr id="444" name="TextBox 443">
            <a:extLst>
              <a:ext uri="{FF2B5EF4-FFF2-40B4-BE49-F238E27FC236}">
                <a16:creationId xmlns:a16="http://schemas.microsoft.com/office/drawing/2014/main" id="{F31C5476-B2ED-8A4F-9632-8D0E8FE9EFA1}"/>
              </a:ext>
            </a:extLst>
          </p:cNvPr>
          <p:cNvSpPr txBox="1"/>
          <p:nvPr/>
        </p:nvSpPr>
        <p:spPr>
          <a:xfrm>
            <a:off x="5408288" y="4631005"/>
            <a:ext cx="1759606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fontAlgn="b">
              <a:spcBef>
                <a:spcPts val="0"/>
              </a:spcBef>
              <a:spcAft>
                <a:spcPts val="0"/>
              </a:spcAft>
              <a:defRPr sz="1200" b="1" u="none" strike="noStrike">
                <a:effectLst/>
              </a:defRPr>
            </a:lvl1pPr>
          </a:lstStyle>
          <a:p>
            <a:pPr marL="0" marR="0" lvl="0" indent="0" algn="l" defTabSz="457200" rtl="0" eaLnBrk="0" fontAlgn="b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Most of these PJs correspond to the </a:t>
            </a:r>
            <a:b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</a:br>
            <a:r>
              <a:rPr kumimoji="0" lang="en-US" sz="800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first year of Covid-19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, which may be </a:t>
            </a:r>
            <a:b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</a:b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the cause of any </a:t>
            </a:r>
            <a:r>
              <a:rPr kumimoji="0" lang="en-US" sz="800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trend break in the data</a:t>
            </a:r>
          </a:p>
        </p:txBody>
      </p:sp>
      <p:sp>
        <p:nvSpPr>
          <p:cNvPr id="445" name="TextBox 444">
            <a:extLst>
              <a:ext uri="{FF2B5EF4-FFF2-40B4-BE49-F238E27FC236}">
                <a16:creationId xmlns:a16="http://schemas.microsoft.com/office/drawing/2014/main" id="{770BD2D6-9568-23E4-A747-1385352D3029}"/>
              </a:ext>
            </a:extLst>
          </p:cNvPr>
          <p:cNvSpPr txBox="1"/>
          <p:nvPr/>
        </p:nvSpPr>
        <p:spPr>
          <a:xfrm>
            <a:off x="33338" y="3494088"/>
            <a:ext cx="1122178" cy="1238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fontAlgn="b">
              <a:spcBef>
                <a:spcPts val="0"/>
              </a:spcBef>
              <a:spcAft>
                <a:spcPts val="0"/>
              </a:spcAft>
              <a:defRPr sz="1200" b="1" u="none" strike="noStrike">
                <a:effectLst/>
              </a:defRPr>
            </a:lvl1pPr>
          </a:lstStyle>
          <a:p>
            <a:pPr marL="0" marR="0" lvl="0" indent="0" algn="l" defTabSz="457200" rtl="0" eaLnBrk="0" fontAlgn="b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#</a:t>
            </a:r>
            <a:r>
              <a:rPr kumimoji="0" lang="en-US" sz="100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th</a:t>
            </a: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 cohort of the clinics</a:t>
            </a:r>
          </a:p>
        </p:txBody>
      </p:sp>
      <p:sp>
        <p:nvSpPr>
          <p:cNvPr id="580" name="TextBox 579">
            <a:extLst>
              <a:ext uri="{FF2B5EF4-FFF2-40B4-BE49-F238E27FC236}">
                <a16:creationId xmlns:a16="http://schemas.microsoft.com/office/drawing/2014/main" id="{04466FDD-67FF-37C5-BB9E-77230310676A}"/>
              </a:ext>
            </a:extLst>
          </p:cNvPr>
          <p:cNvSpPr txBox="1"/>
          <p:nvPr/>
        </p:nvSpPr>
        <p:spPr>
          <a:xfrm>
            <a:off x="111914" y="5000337"/>
            <a:ext cx="8191671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700" b="1"/>
              <a:t>Notes</a:t>
            </a:r>
            <a:r>
              <a:rPr lang="en-US" sz="700"/>
              <a:t>: Incomplete PJs are excluded from the analysis; Cohorts with less than 10 clinics and/or less than 300 PJs are excluded from the analysis leading to a cutoff at 9</a:t>
            </a:r>
            <a:r>
              <a:rPr lang="en-US" sz="700" baseline="30000"/>
              <a:t>th</a:t>
            </a:r>
            <a:r>
              <a:rPr lang="en-US" sz="700"/>
              <a:t> cohort of the participating clinic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90E1DF-EA22-D462-308D-60236F108402}"/>
              </a:ext>
            </a:extLst>
          </p:cNvPr>
          <p:cNvSpPr txBox="1"/>
          <p:nvPr/>
        </p:nvSpPr>
        <p:spPr>
          <a:xfrm>
            <a:off x="33338" y="4184650"/>
            <a:ext cx="1122178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fontAlgn="b">
              <a:spcBef>
                <a:spcPts val="0"/>
              </a:spcBef>
              <a:spcAft>
                <a:spcPts val="0"/>
              </a:spcAft>
              <a:defRPr sz="1200" b="1" u="none" strike="noStrike">
                <a:effectLst/>
              </a:defRPr>
            </a:lvl1pPr>
          </a:lstStyle>
          <a:p>
            <a:pPr marL="0" marR="0" lvl="0" indent="0" algn="l" defTabSz="457200" rtl="0" eaLnBrk="0" fontAlgn="b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2060"/>
                </a:solidFill>
              </a:rPr>
              <a:t>%</a:t>
            </a: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 of PJs with at least 4 ANC visits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565C1C64-6579-CE54-9B96-BD5816442A32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1179244" y="3321784"/>
            <a:ext cx="524413" cy="5844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849ED391-432E-ECD8-31AB-76C394AD875F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2009775" y="3326544"/>
            <a:ext cx="524413" cy="58444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FE54ECA-5541-7295-78FB-26148E20B396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2858562" y="3326544"/>
            <a:ext cx="524413" cy="58444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4D39AD72-91E4-A8F1-67DA-A7882FA382DE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3695162" y="3351006"/>
            <a:ext cx="524413" cy="58444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661DA2C9-4081-4597-A224-C928B66E015D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4507350" y="3366233"/>
            <a:ext cx="524413" cy="58444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1C6330B8-84AF-4841-DF8F-6B591A64376F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5356429" y="3384988"/>
            <a:ext cx="524413" cy="58444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C0568D1D-2CB9-8929-034B-5698E8B2CB79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6201353" y="3382689"/>
            <a:ext cx="524413" cy="58444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685E9650-9A0F-289A-67CC-92ACFB7ECD19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7019988" y="3359954"/>
            <a:ext cx="524413" cy="58444"/>
          </a:xfrm>
          <a:prstGeom prst="rect">
            <a:avLst/>
          </a:prstGeom>
        </p:spPr>
      </p:pic>
      <p:pic>
        <p:nvPicPr>
          <p:cNvPr id="448" name="Picture 447">
            <a:extLst>
              <a:ext uri="{FF2B5EF4-FFF2-40B4-BE49-F238E27FC236}">
                <a16:creationId xmlns:a16="http://schemas.microsoft.com/office/drawing/2014/main" id="{CFD5EB3D-0DD0-49ED-EE4D-4B097F8771FD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7864912" y="3355766"/>
            <a:ext cx="524413" cy="58444"/>
          </a:xfrm>
          <a:prstGeom prst="rect">
            <a:avLst/>
          </a:prstGeom>
        </p:spPr>
      </p:pic>
      <p:sp>
        <p:nvSpPr>
          <p:cNvPr id="453" name="TextBox 452">
            <a:extLst>
              <a:ext uri="{FF2B5EF4-FFF2-40B4-BE49-F238E27FC236}">
                <a16:creationId xmlns:a16="http://schemas.microsoft.com/office/drawing/2014/main" id="{485462C5-654F-1C6A-E506-AA1923846BDA}"/>
              </a:ext>
            </a:extLst>
          </p:cNvPr>
          <p:cNvSpPr txBox="1"/>
          <p:nvPr/>
        </p:nvSpPr>
        <p:spPr>
          <a:xfrm rot="5400000">
            <a:off x="6152158" y="3482233"/>
            <a:ext cx="245771" cy="1589987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9600">
                <a:solidFill>
                  <a:srgbClr val="C00000"/>
                </a:solidFill>
              </a:rPr>
              <a:t>}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A15FEF8-BC7B-D0FD-8F7A-C3D404909A32}"/>
              </a:ext>
            </a:extLst>
          </p:cNvPr>
          <p:cNvSpPr txBox="1"/>
          <p:nvPr/>
        </p:nvSpPr>
        <p:spPr>
          <a:xfrm>
            <a:off x="2567050" y="-9928"/>
            <a:ext cx="6549474" cy="174856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312"/>
              </a:spcBef>
            </a:pPr>
            <a:r>
              <a:rPr lang="en-US" sz="800" dirty="0"/>
              <a:t>Data from cohort 1 – cohort 14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3706032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4C1C1B-9ED3-D3D7-6555-5E2136918540}"/>
              </a:ext>
            </a:extLst>
          </p:cNvPr>
          <p:cNvSpPr/>
          <p:nvPr/>
        </p:nvSpPr>
        <p:spPr>
          <a:xfrm>
            <a:off x="6055886" y="1871330"/>
            <a:ext cx="295200" cy="105262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l"/>
            <a:endParaRPr lang="en-US" sz="1100" b="1"/>
          </a:p>
        </p:txBody>
      </p:sp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F28FD14-F557-7F1F-F057-28073BEE9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F28FD14-F557-7F1F-F057-28073BEE9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F26A843-4FF6-7C1E-89D3-856B4E2901DA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2">
              <a:lumMod val="50000"/>
              <a:alpha val="90000"/>
            </a:schemeClr>
          </a:solidFill>
        </p:spPr>
        <p:txBody>
          <a:bodyPr vert="horz"/>
          <a:lstStyle/>
          <a:p>
            <a:r>
              <a:rPr lang="en-US"/>
              <a:t>MomCare leads to better value with increased care utilization at only limited additional cost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D82D5B-A26D-3762-6AF3-7A093A4DC5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9924" y="4791075"/>
            <a:ext cx="431010" cy="255429"/>
          </a:xfrm>
        </p:spPr>
        <p:txBody>
          <a:bodyPr/>
          <a:lstStyle/>
          <a:p>
            <a:pPr defTabSz="188856"/>
            <a:fld id="{9C24207B-2825-1344-BA70-0110A4EF1B0C}" type="slidenum">
              <a:rPr lang="en-GB" smtClean="0"/>
              <a:pPr defTabSz="188856"/>
              <a:t>14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2FF89D-D3DD-0647-5CEC-424A1E624432}"/>
              </a:ext>
            </a:extLst>
          </p:cNvPr>
          <p:cNvSpPr txBox="1"/>
          <p:nvPr/>
        </p:nvSpPr>
        <p:spPr>
          <a:xfrm>
            <a:off x="7277519" y="9568"/>
            <a:ext cx="1793415" cy="174856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312"/>
              </a:spcBef>
            </a:pPr>
            <a:r>
              <a:rPr lang="en-US" sz="800" dirty="0">
                <a:solidFill>
                  <a:srgbClr val="000000"/>
                </a:solidFill>
              </a:rPr>
              <a:t>Data as per March 16</a:t>
            </a:r>
            <a:r>
              <a:rPr lang="en-US" sz="800" baseline="30000" dirty="0">
                <a:solidFill>
                  <a:srgbClr val="000000"/>
                </a:solidFill>
              </a:rPr>
              <a:t>th</a:t>
            </a:r>
            <a:r>
              <a:rPr lang="en-US" sz="800" dirty="0">
                <a:solidFill>
                  <a:srgbClr val="000000"/>
                </a:solidFill>
              </a:rPr>
              <a:t>, 2023</a:t>
            </a:r>
          </a:p>
        </p:txBody>
      </p:sp>
      <p:graphicFrame>
        <p:nvGraphicFramePr>
          <p:cNvPr id="15" name="Grafiek 1">
            <a:extLst>
              <a:ext uri="{FF2B5EF4-FFF2-40B4-BE49-F238E27FC236}">
                <a16:creationId xmlns:a16="http://schemas.microsoft.com/office/drawing/2014/main" id="{96A37351-AE00-F441-9E11-C009FAA3719F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9003812"/>
              </p:ext>
            </p:extLst>
          </p:nvPr>
        </p:nvGraphicFramePr>
        <p:xfrm>
          <a:off x="555909" y="1753429"/>
          <a:ext cx="6258907" cy="1978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F8620217-5AC0-D8A5-36F2-D54BB25C6FD0}"/>
              </a:ext>
            </a:extLst>
          </p:cNvPr>
          <p:cNvSpPr txBox="1"/>
          <p:nvPr/>
        </p:nvSpPr>
        <p:spPr>
          <a:xfrm>
            <a:off x="0" y="4936520"/>
            <a:ext cx="7743825" cy="206980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000">
                <a:solidFill>
                  <a:srgbClr val="000000"/>
                </a:solidFill>
              </a:rPr>
              <a:t>* For simplicity we listed only some key drivers for better outcomes. Utilization of other care elements increased as well.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045C9F7-BDEA-30AB-4D45-7D946A7F5F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7234" y="3732118"/>
            <a:ext cx="2479675" cy="25556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D5F164-AC9F-9125-61AD-F17F52979103}"/>
              </a:ext>
            </a:extLst>
          </p:cNvPr>
          <p:cNvSpPr/>
          <p:nvPr/>
        </p:nvSpPr>
        <p:spPr>
          <a:xfrm>
            <a:off x="141216" y="1246442"/>
            <a:ext cx="1747519" cy="4501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l"/>
            <a:r>
              <a:rPr lang="en-US" sz="1400" b="1">
                <a:solidFill>
                  <a:srgbClr val="000000"/>
                </a:solidFill>
              </a:rPr>
              <a:t>Utilization* Increas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563BD99-E723-F34D-D413-42484D1A4AC1}"/>
              </a:ext>
            </a:extLst>
          </p:cNvPr>
          <p:cNvSpPr/>
          <p:nvPr/>
        </p:nvSpPr>
        <p:spPr>
          <a:xfrm>
            <a:off x="1740485" y="1225735"/>
            <a:ext cx="706367" cy="4501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b="1">
                <a:solidFill>
                  <a:srgbClr val="008000"/>
                </a:solidFill>
              </a:rPr>
              <a:t>17%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5DCB80-015F-E752-2127-F2C6F11FDCEA}"/>
              </a:ext>
            </a:extLst>
          </p:cNvPr>
          <p:cNvSpPr/>
          <p:nvPr/>
        </p:nvSpPr>
        <p:spPr>
          <a:xfrm>
            <a:off x="3025062" y="1225735"/>
            <a:ext cx="706367" cy="4501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b="1">
                <a:solidFill>
                  <a:srgbClr val="008000"/>
                </a:solidFill>
              </a:rPr>
              <a:t>3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88D6A2-27D9-1677-3D4D-10B44529BB5D}"/>
              </a:ext>
            </a:extLst>
          </p:cNvPr>
          <p:cNvSpPr/>
          <p:nvPr/>
        </p:nvSpPr>
        <p:spPr>
          <a:xfrm>
            <a:off x="4309639" y="1225735"/>
            <a:ext cx="706367" cy="4501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b="1">
                <a:solidFill>
                  <a:srgbClr val="008000"/>
                </a:solidFill>
              </a:rPr>
              <a:t>18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66CFCED-8BA8-A73A-956A-56ACAAF18053}"/>
              </a:ext>
            </a:extLst>
          </p:cNvPr>
          <p:cNvSpPr/>
          <p:nvPr/>
        </p:nvSpPr>
        <p:spPr>
          <a:xfrm>
            <a:off x="5594215" y="1225735"/>
            <a:ext cx="706367" cy="4501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b="1">
                <a:solidFill>
                  <a:srgbClr val="008000"/>
                </a:solidFill>
              </a:rPr>
              <a:t>8%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083961F-78C3-9FB0-ACCD-58737C25F323}"/>
              </a:ext>
            </a:extLst>
          </p:cNvPr>
          <p:cNvCxnSpPr>
            <a:cxnSpLocks/>
          </p:cNvCxnSpPr>
          <p:nvPr/>
        </p:nvCxnSpPr>
        <p:spPr>
          <a:xfrm>
            <a:off x="2735957" y="1225735"/>
            <a:ext cx="0" cy="2450069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2E2FFB0-4477-DF41-3807-4463578D0B10}"/>
              </a:ext>
            </a:extLst>
          </p:cNvPr>
          <p:cNvCxnSpPr>
            <a:cxnSpLocks/>
          </p:cNvCxnSpPr>
          <p:nvPr/>
        </p:nvCxnSpPr>
        <p:spPr>
          <a:xfrm>
            <a:off x="4020534" y="1225735"/>
            <a:ext cx="0" cy="2450069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F867592-9EA6-4B39-361A-7D8550CCC6E7}"/>
              </a:ext>
            </a:extLst>
          </p:cNvPr>
          <p:cNvCxnSpPr>
            <a:cxnSpLocks/>
          </p:cNvCxnSpPr>
          <p:nvPr/>
        </p:nvCxnSpPr>
        <p:spPr>
          <a:xfrm>
            <a:off x="5305111" y="1225735"/>
            <a:ext cx="0" cy="2450069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CFF43A9F-39C7-3BF5-4F7B-A94AFF8F8AE1}"/>
              </a:ext>
            </a:extLst>
          </p:cNvPr>
          <p:cNvSpPr txBox="1"/>
          <p:nvPr/>
        </p:nvSpPr>
        <p:spPr>
          <a:xfrm>
            <a:off x="6589685" y="1377419"/>
            <a:ext cx="1569817" cy="54553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000">
                <a:solidFill>
                  <a:srgbClr val="000000"/>
                </a:solidFill>
              </a:rPr>
              <a:t>Preliminary results on our last 3 cohorts show &gt;99 % facility-based delivery</a:t>
            </a:r>
          </a:p>
        </p:txBody>
      </p:sp>
      <p:sp>
        <p:nvSpPr>
          <p:cNvPr id="58" name="Terminator 28">
            <a:extLst>
              <a:ext uri="{FF2B5EF4-FFF2-40B4-BE49-F238E27FC236}">
                <a16:creationId xmlns:a16="http://schemas.microsoft.com/office/drawing/2014/main" id="{5083EFAB-7E83-743E-6E34-81799256E87F}"/>
              </a:ext>
            </a:extLst>
          </p:cNvPr>
          <p:cNvSpPr/>
          <p:nvPr/>
        </p:nvSpPr>
        <p:spPr>
          <a:xfrm>
            <a:off x="6589685" y="3715012"/>
            <a:ext cx="2210315" cy="1076063"/>
          </a:xfrm>
          <a:prstGeom prst="flowChartTerminator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b="1"/>
              <a:t>Utilization increase is achieved with only a 12% increase in the overall cost level </a:t>
            </a:r>
          </a:p>
        </p:txBody>
      </p:sp>
    </p:spTree>
    <p:extLst>
      <p:ext uri="{BB962C8B-B14F-4D97-AF65-F5344CB8AC3E}">
        <p14:creationId xmlns:p14="http://schemas.microsoft.com/office/powerpoint/2010/main" val="20366988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F320598-5EE6-A638-D82D-8D30119A9C57}"/>
              </a:ext>
            </a:extLst>
          </p:cNvPr>
          <p:cNvSpPr>
            <a:spLocks noGrp="1"/>
          </p:cNvSpPr>
          <p:nvPr>
            <p:ph type="pic" idx="10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DF069F-7462-957B-A6F2-8A83C1C55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/>
              <a:t>Segmentation in </a:t>
            </a:r>
            <a:r>
              <a:rPr lang="en-US" sz="2400" err="1"/>
              <a:t>MomCare</a:t>
            </a:r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0576E1-9E0F-CC43-3572-7B3D2EED59E4}"/>
              </a:ext>
            </a:extLst>
          </p:cNvPr>
          <p:cNvSpPr/>
          <p:nvPr/>
        </p:nvSpPr>
        <p:spPr>
          <a:xfrm>
            <a:off x="2036278" y="2392137"/>
            <a:ext cx="5319744" cy="62243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algn="ctr"/>
            <a:r>
              <a:rPr lang="en-US" sz="1400">
                <a:solidFill>
                  <a:srgbClr val="00558F"/>
                </a:solidFill>
                <a:cs typeface="Calibri"/>
              </a:rPr>
              <a:t>Four groups | Next steps</a:t>
            </a:r>
            <a:endParaRPr lang="en-US" sz="1400">
              <a:solidFill>
                <a:srgbClr val="0055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8035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1ABA19-797B-787F-C83C-9C8876B5C2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1ABA19-797B-787F-C83C-9C8876B5C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DA44258-D0FC-1EEA-E9F2-9029FAC1D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2045"/>
            <a:ext cx="7203600" cy="561600"/>
          </a:xfrm>
        </p:spPr>
        <p:txBody>
          <a:bodyPr vert="horz"/>
          <a:lstStyle/>
          <a:p>
            <a:r>
              <a:rPr lang="en-US"/>
              <a:t>Socio-economic characteristics of mothers in </a:t>
            </a:r>
            <a:r>
              <a:rPr lang="en-US" b="1" err="1"/>
              <a:t>MomCare</a:t>
            </a:r>
            <a:r>
              <a:rPr lang="en-US" b="1"/>
              <a:t> Kenya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B2F3EF3-8D23-4B15-947F-BAB1AAC62EB6}"/>
              </a:ext>
            </a:extLst>
          </p:cNvPr>
          <p:cNvSpPr txBox="1"/>
          <p:nvPr/>
        </p:nvSpPr>
        <p:spPr>
          <a:xfrm>
            <a:off x="4924751" y="911249"/>
            <a:ext cx="3546962" cy="1088311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100" b="1">
                <a:solidFill>
                  <a:srgbClr val="000000"/>
                </a:solidFill>
              </a:rPr>
              <a:t>The average </a:t>
            </a:r>
            <a:r>
              <a:rPr lang="en-US" sz="1100" b="1" err="1">
                <a:solidFill>
                  <a:srgbClr val="000000"/>
                </a:solidFill>
              </a:rPr>
              <a:t>MomCare</a:t>
            </a:r>
            <a:r>
              <a:rPr lang="en-US" sz="1100" b="1">
                <a:solidFill>
                  <a:srgbClr val="000000"/>
                </a:solidFill>
              </a:rPr>
              <a:t> mother (to be) in Kenya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lives in an </a:t>
            </a:r>
            <a:r>
              <a:rPr lang="en-US" sz="1050" b="1">
                <a:solidFill>
                  <a:srgbClr val="000000"/>
                </a:solidFill>
              </a:rPr>
              <a:t>urban</a:t>
            </a:r>
            <a:r>
              <a:rPr lang="en-US" sz="1050">
                <a:solidFill>
                  <a:srgbClr val="000000"/>
                </a:solidFill>
              </a:rPr>
              <a:t> area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travels by </a:t>
            </a:r>
            <a:r>
              <a:rPr lang="en-US" sz="1050" b="1">
                <a:solidFill>
                  <a:srgbClr val="000000"/>
                </a:solidFill>
              </a:rPr>
              <a:t>Boda-boda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has a </a:t>
            </a:r>
            <a:r>
              <a:rPr lang="en-US" sz="1050" b="1">
                <a:solidFill>
                  <a:srgbClr val="000000"/>
                </a:solidFill>
              </a:rPr>
              <a:t>small social network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has a household member with </a:t>
            </a:r>
            <a:r>
              <a:rPr lang="en-US" sz="1050" b="1">
                <a:solidFill>
                  <a:srgbClr val="000000"/>
                </a:solidFill>
              </a:rPr>
              <a:t>secondary education</a:t>
            </a: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0242B079-887D-2BD4-78CF-259DD9DD35EE}"/>
              </a:ext>
            </a:extLst>
          </p:cNvPr>
          <p:cNvSpPr txBox="1">
            <a:spLocks/>
          </p:cNvSpPr>
          <p:nvPr/>
        </p:nvSpPr>
        <p:spPr>
          <a:xfrm>
            <a:off x="8601076" y="4791075"/>
            <a:ext cx="431010" cy="25542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algn="r" defTabSz="188856">
              <a:defRPr sz="1000" b="1"/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fld id="{9C24207B-2825-1344-BA70-0110A4EF1B0C}" type="slidenum">
              <a:rPr lang="en-GB"/>
              <a:pPr/>
              <a:t>16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A5D7A3-E751-9A74-263A-7D3132C901F6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1794" y="902291"/>
            <a:ext cx="2345338" cy="160317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896E3D-C85D-0C7B-F5DE-EC75E7FDF27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0385" y="915209"/>
            <a:ext cx="1963790" cy="160317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8579BB8-BC49-E835-03ED-DE8880AB493B}"/>
              </a:ext>
            </a:extLst>
          </p:cNvPr>
          <p:cNvSpPr/>
          <p:nvPr/>
        </p:nvSpPr>
        <p:spPr>
          <a:xfrm>
            <a:off x="111914" y="3129784"/>
            <a:ext cx="1620982" cy="1682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>
                <a:solidFill>
                  <a:srgbClr val="000000"/>
                </a:solidFill>
              </a:rPr>
              <a:t>28,667</a:t>
            </a:r>
          </a:p>
          <a:p>
            <a:pPr algn="ctr"/>
            <a:r>
              <a:rPr lang="en-US" sz="1300">
                <a:solidFill>
                  <a:srgbClr val="000000"/>
                </a:solidFill>
              </a:rPr>
              <a:t>General population</a:t>
            </a:r>
          </a:p>
          <a:p>
            <a:pPr algn="ctr"/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17582D-B2A1-170E-3F8C-BDA1D7C1EA41}"/>
              </a:ext>
            </a:extLst>
          </p:cNvPr>
          <p:cNvSpPr/>
          <p:nvPr/>
        </p:nvSpPr>
        <p:spPr>
          <a:xfrm>
            <a:off x="1868512" y="4017986"/>
            <a:ext cx="1620982" cy="788668"/>
          </a:xfrm>
          <a:prstGeom prst="rect">
            <a:avLst/>
          </a:prstGeom>
          <a:solidFill>
            <a:srgbClr val="F2652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/>
              <a:t>14%</a:t>
            </a:r>
          </a:p>
          <a:p>
            <a:pPr algn="ctr"/>
            <a:r>
              <a:rPr lang="en-US" sz="1300"/>
              <a:t>High Risk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030721-4D69-9814-6865-5172F51C2A9E}"/>
              </a:ext>
            </a:extLst>
          </p:cNvPr>
          <p:cNvSpPr/>
          <p:nvPr/>
        </p:nvSpPr>
        <p:spPr>
          <a:xfrm>
            <a:off x="5381709" y="4002407"/>
            <a:ext cx="1620982" cy="78866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600" b="1"/>
              <a:t>32%</a:t>
            </a:r>
            <a:endParaRPr lang="en-US"/>
          </a:p>
          <a:p>
            <a:pPr algn="ctr"/>
            <a:r>
              <a:rPr lang="en-US" sz="1050">
                <a:ea typeface="Calibri"/>
                <a:cs typeface="Calibri"/>
              </a:rPr>
              <a:t>Only primary education (or no education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2997E6-6B8E-6946-EE30-7DF8D17F2705}"/>
              </a:ext>
            </a:extLst>
          </p:cNvPr>
          <p:cNvSpPr/>
          <p:nvPr/>
        </p:nvSpPr>
        <p:spPr>
          <a:xfrm>
            <a:off x="3625111" y="3129784"/>
            <a:ext cx="1620982" cy="78866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/>
              <a:t>12.5%</a:t>
            </a:r>
          </a:p>
          <a:p>
            <a:pPr algn="ctr"/>
            <a:r>
              <a:rPr lang="en-US" sz="1100"/>
              <a:t>Teenage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36BEFB-7028-B8B6-9BE5-B04254A8A35F}"/>
              </a:ext>
            </a:extLst>
          </p:cNvPr>
          <p:cNvSpPr/>
          <p:nvPr/>
        </p:nvSpPr>
        <p:spPr>
          <a:xfrm>
            <a:off x="3625111" y="4002407"/>
            <a:ext cx="1620982" cy="788668"/>
          </a:xfrm>
          <a:prstGeom prst="rect">
            <a:avLst/>
          </a:prstGeom>
          <a:solidFill>
            <a:srgbClr val="EC00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600" b="1"/>
              <a:t>10%</a:t>
            </a:r>
          </a:p>
          <a:p>
            <a:pPr algn="ctr"/>
            <a:r>
              <a:rPr lang="en-US" sz="1300"/>
              <a:t>Mental health risk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255562-B616-329B-354C-03D20DADB5BF}"/>
              </a:ext>
            </a:extLst>
          </p:cNvPr>
          <p:cNvSpPr/>
          <p:nvPr/>
        </p:nvSpPr>
        <p:spPr>
          <a:xfrm>
            <a:off x="1868512" y="3129784"/>
            <a:ext cx="1620982" cy="788668"/>
          </a:xfrm>
          <a:prstGeom prst="rect">
            <a:avLst/>
          </a:prstGeom>
          <a:solidFill>
            <a:srgbClr val="00A79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/>
              <a:t>86%</a:t>
            </a:r>
          </a:p>
          <a:p>
            <a:pPr algn="ctr"/>
            <a:r>
              <a:rPr lang="en-US" sz="1300"/>
              <a:t>Low-risk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6C5785-979A-6A50-026C-866D1F078B2F}"/>
              </a:ext>
            </a:extLst>
          </p:cNvPr>
          <p:cNvSpPr/>
          <p:nvPr/>
        </p:nvSpPr>
        <p:spPr>
          <a:xfrm>
            <a:off x="5381709" y="3129784"/>
            <a:ext cx="1620982" cy="78866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600" b="1"/>
              <a:t>25%</a:t>
            </a:r>
            <a:endParaRPr lang="en-US"/>
          </a:p>
          <a:p>
            <a:pPr algn="ctr"/>
            <a:r>
              <a:rPr lang="en-US" sz="1300"/>
              <a:t>Urban households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9B667D4-97AD-24D5-E556-BF25DFCCE39C}"/>
              </a:ext>
            </a:extLst>
          </p:cNvPr>
          <p:cNvSpPr/>
          <p:nvPr/>
        </p:nvSpPr>
        <p:spPr>
          <a:xfrm>
            <a:off x="7138307" y="3129784"/>
            <a:ext cx="1620982" cy="78866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600" b="1"/>
              <a:t>22%</a:t>
            </a:r>
          </a:p>
          <a:p>
            <a:pPr algn="ctr"/>
            <a:r>
              <a:rPr lang="en-US" sz="1300">
                <a:ea typeface="Calibri"/>
                <a:cs typeface="Calibri"/>
              </a:rPr>
              <a:t>No social suppor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463FC70-0335-79D6-54D0-121499740CBE}"/>
              </a:ext>
            </a:extLst>
          </p:cNvPr>
          <p:cNvSpPr txBox="1"/>
          <p:nvPr/>
        </p:nvSpPr>
        <p:spPr>
          <a:xfrm>
            <a:off x="0" y="4906188"/>
            <a:ext cx="6182686" cy="190886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marR="0" lvl="0" indent="0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900" b="0" i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Note: MomCare data collection has changed over time. </a:t>
            </a:r>
            <a:r>
              <a:rPr lang="en-NL" sz="900">
                <a:solidFill>
                  <a:srgbClr val="00558F"/>
                </a:solidFill>
              </a:rPr>
              <a:t>P</a:t>
            </a:r>
            <a:r>
              <a:rPr kumimoji="0" lang="en-NL" sz="900" b="0" i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ercentages reflect mothers for whom the relevant data was availab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BC711FE-3239-EFAD-250A-34E33DB45F0D}"/>
              </a:ext>
            </a:extLst>
          </p:cNvPr>
          <p:cNvSpPr/>
          <p:nvPr/>
        </p:nvSpPr>
        <p:spPr>
          <a:xfrm>
            <a:off x="7138306" y="4003843"/>
            <a:ext cx="1620982" cy="78866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600" b="1"/>
              <a:t>5%</a:t>
            </a:r>
          </a:p>
          <a:p>
            <a:pPr algn="ctr"/>
            <a:r>
              <a:rPr lang="en-US" sz="1300">
                <a:ea typeface="Calibri"/>
                <a:cs typeface="Calibri"/>
              </a:rPr>
              <a:t>Illiter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4030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87A090E-A54A-E705-13DD-E02E1043E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isting comorbidities are distributed differently across the subgroup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3C8DEDE-70A4-56B6-74C3-C9F66E28A8D8}"/>
              </a:ext>
            </a:extLst>
          </p:cNvPr>
          <p:cNvSpPr txBox="1"/>
          <p:nvPr/>
        </p:nvSpPr>
        <p:spPr>
          <a:xfrm>
            <a:off x="97609" y="2952078"/>
            <a:ext cx="2943497" cy="1540743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>
                <a:solidFill>
                  <a:srgbClr val="000000"/>
                </a:solidFill>
              </a:rPr>
              <a:t>Co-morbidities at enrollment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>
                <a:solidFill>
                  <a:schemeClr val="accent2">
                    <a:lumMod val="40000"/>
                    <a:lumOff val="60000"/>
                  </a:schemeClr>
                </a:solidFill>
              </a:rPr>
              <a:t>13.9% </a:t>
            </a:r>
            <a:r>
              <a:rPr lang="en-US" sz="1100">
                <a:solidFill>
                  <a:srgbClr val="000000"/>
                </a:solidFill>
              </a:rPr>
              <a:t>of all mothers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>
                <a:solidFill>
                  <a:srgbClr val="00A79D"/>
                </a:solidFill>
              </a:rPr>
              <a:t>13.5% </a:t>
            </a:r>
            <a:r>
              <a:rPr lang="en-US" sz="1100">
                <a:solidFill>
                  <a:srgbClr val="000000"/>
                </a:solidFill>
              </a:rPr>
              <a:t>of low-risk mothers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>
                <a:solidFill>
                  <a:srgbClr val="F26522"/>
                </a:solidFill>
              </a:rPr>
              <a:t>20.6% </a:t>
            </a:r>
            <a:r>
              <a:rPr lang="en-US" sz="1100">
                <a:solidFill>
                  <a:srgbClr val="000000"/>
                </a:solidFill>
              </a:rPr>
              <a:t>of high-risk mothers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>
                <a:solidFill>
                  <a:srgbClr val="FFC000"/>
                </a:solidFill>
              </a:rPr>
              <a:t>12.9 % </a:t>
            </a:r>
            <a:r>
              <a:rPr lang="en-US" sz="1100">
                <a:solidFill>
                  <a:srgbClr val="000000"/>
                </a:solidFill>
              </a:rPr>
              <a:t>of teenage mothers</a:t>
            </a:r>
          </a:p>
        </p:txBody>
      </p:sp>
      <p:graphicFrame>
        <p:nvGraphicFramePr>
          <p:cNvPr id="3" name="Grafiek 2">
            <a:extLst>
              <a:ext uri="{FF2B5EF4-FFF2-40B4-BE49-F238E27FC236}">
                <a16:creationId xmlns:a16="http://schemas.microsoft.com/office/drawing/2014/main" id="{B3B2BA14-8FC7-C97F-57A9-97E4F4611F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4469398"/>
              </p:ext>
            </p:extLst>
          </p:nvPr>
        </p:nvGraphicFramePr>
        <p:xfrm>
          <a:off x="2830286" y="934357"/>
          <a:ext cx="6216105" cy="3951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540079A3-9A91-0204-65B6-A30150D70E9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500" y="1175927"/>
            <a:ext cx="2732677" cy="154074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734AC23-8D25-61CE-29BF-747F5080D027}"/>
              </a:ext>
            </a:extLst>
          </p:cNvPr>
          <p:cNvCxnSpPr>
            <a:cxnSpLocks/>
          </p:cNvCxnSpPr>
          <p:nvPr/>
        </p:nvCxnSpPr>
        <p:spPr>
          <a:xfrm>
            <a:off x="2816234" y="1018142"/>
            <a:ext cx="0" cy="3867872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5491336A-5103-AE82-E985-D19BD9DD136B}"/>
              </a:ext>
            </a:extLst>
          </p:cNvPr>
          <p:cNvSpPr txBox="1"/>
          <p:nvPr/>
        </p:nvSpPr>
        <p:spPr>
          <a:xfrm>
            <a:off x="7277519" y="9568"/>
            <a:ext cx="1793415" cy="174856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312"/>
              </a:spcBef>
            </a:pPr>
            <a:r>
              <a:rPr lang="en-US" sz="800" dirty="0">
                <a:solidFill>
                  <a:srgbClr val="000000"/>
                </a:solidFill>
              </a:rPr>
              <a:t>Data as per April 20th, 2023</a:t>
            </a:r>
          </a:p>
        </p:txBody>
      </p:sp>
    </p:spTree>
    <p:extLst>
      <p:ext uri="{BB962C8B-B14F-4D97-AF65-F5344CB8AC3E}">
        <p14:creationId xmlns:p14="http://schemas.microsoft.com/office/powerpoint/2010/main" val="9360362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87A090E-A54A-E705-13DD-E02E1043E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tcomes vary between subgroup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3C8DEDE-70A4-56B6-74C3-C9F66E28A8D8}"/>
              </a:ext>
            </a:extLst>
          </p:cNvPr>
          <p:cNvSpPr txBox="1"/>
          <p:nvPr/>
        </p:nvSpPr>
        <p:spPr>
          <a:xfrm>
            <a:off x="97609" y="2952078"/>
            <a:ext cx="2943497" cy="1290994"/>
          </a:xfrm>
          <a:prstGeom prst="rect">
            <a:avLst/>
          </a:prstGeom>
          <a:noFill/>
        </p:spPr>
        <p:txBody>
          <a:bodyPr wrap="square" lIns="91440" tIns="0" rIns="91440" bIns="45720" rtlCol="0" anchor="t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>
                <a:solidFill>
                  <a:srgbClr val="000000"/>
                </a:solidFill>
                <a:latin typeface="Calibri"/>
                <a:ea typeface="ＭＳ Ｐゴシック"/>
              </a:rPr>
              <a:t>Data sources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endParaRPr lang="en-US" sz="1600" b="1">
              <a:solidFill>
                <a:srgbClr val="000000"/>
              </a:solidFill>
            </a:endParaRPr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100">
                <a:solidFill>
                  <a:srgbClr val="000000"/>
                </a:solidFill>
                <a:latin typeface="Calibri"/>
                <a:ea typeface="ＭＳ Ｐゴシック"/>
              </a:rPr>
              <a:t>	2386 end of journey calls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endParaRPr lang="en-US" sz="1100">
              <a:solidFill>
                <a:srgbClr val="000000"/>
              </a:solidFill>
            </a:endParaRPr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100">
                <a:solidFill>
                  <a:srgbClr val="000000"/>
                </a:solidFill>
                <a:latin typeface="Calibri"/>
                <a:ea typeface="ＭＳ Ｐゴシック"/>
              </a:rPr>
              <a:t>	19.120 billing recor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0079A3-9A91-0204-65B6-A30150D70E9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750" y="1175927"/>
            <a:ext cx="2732677" cy="154074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734AC23-8D25-61CE-29BF-747F5080D027}"/>
              </a:ext>
            </a:extLst>
          </p:cNvPr>
          <p:cNvCxnSpPr>
            <a:cxnSpLocks/>
          </p:cNvCxnSpPr>
          <p:nvPr/>
        </p:nvCxnSpPr>
        <p:spPr>
          <a:xfrm>
            <a:off x="2816234" y="1018142"/>
            <a:ext cx="0" cy="3867872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Grafiek 7">
            <a:extLst>
              <a:ext uri="{FF2B5EF4-FFF2-40B4-BE49-F238E27FC236}">
                <a16:creationId xmlns:a16="http://schemas.microsoft.com/office/drawing/2014/main" id="{3DB0B158-F306-6942-9122-C0B147A94D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1828555"/>
              </p:ext>
            </p:extLst>
          </p:nvPr>
        </p:nvGraphicFramePr>
        <p:xfrm>
          <a:off x="3041106" y="760673"/>
          <a:ext cx="6005285" cy="40134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2AE6431-9FC1-978A-3D3A-1C9BA8A027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0973" y="4707201"/>
            <a:ext cx="357625" cy="357625"/>
          </a:xfrm>
          <a:prstGeom prst="rect">
            <a:avLst/>
          </a:prstGeom>
        </p:spPr>
      </p:pic>
      <p:pic>
        <p:nvPicPr>
          <p:cNvPr id="24578" name="Picture 2" descr="Bill icon stock vector. Illustration of folders, blank ...">
            <a:extLst>
              <a:ext uri="{FF2B5EF4-FFF2-40B4-BE49-F238E27FC236}">
                <a16:creationId xmlns:a16="http://schemas.microsoft.com/office/drawing/2014/main" id="{73E1A391-F021-241E-BFBD-B223A21C4C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8666" y="4696768"/>
            <a:ext cx="301553" cy="35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Bill icon stock vector. Illustration of folders, blank ...">
            <a:extLst>
              <a:ext uri="{FF2B5EF4-FFF2-40B4-BE49-F238E27FC236}">
                <a16:creationId xmlns:a16="http://schemas.microsoft.com/office/drawing/2014/main" id="{048F59D0-5AE0-15EE-1586-B618B22F6E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92971" y="4696767"/>
            <a:ext cx="301553" cy="35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Bill icon stock vector. Illustration of folders, blank ...">
            <a:extLst>
              <a:ext uri="{FF2B5EF4-FFF2-40B4-BE49-F238E27FC236}">
                <a16:creationId xmlns:a16="http://schemas.microsoft.com/office/drawing/2014/main" id="{CD548446-E03F-3CDC-63A4-E3A246D768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50870" y="4696766"/>
            <a:ext cx="301553" cy="35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Bill icon stock vector. Illustration of folders, blank ...">
            <a:extLst>
              <a:ext uri="{FF2B5EF4-FFF2-40B4-BE49-F238E27FC236}">
                <a16:creationId xmlns:a16="http://schemas.microsoft.com/office/drawing/2014/main" id="{EAA56E0E-37A4-35A7-9691-AA5675F8BA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09097" y="4707200"/>
            <a:ext cx="301553" cy="35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050BDEF-57E6-26CD-DC24-CEE619CFE2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904" y="3492577"/>
            <a:ext cx="357625" cy="357625"/>
          </a:xfrm>
          <a:prstGeom prst="rect">
            <a:avLst/>
          </a:prstGeom>
        </p:spPr>
      </p:pic>
      <p:pic>
        <p:nvPicPr>
          <p:cNvPr id="13" name="Picture 2" descr="Bill icon stock vector. Illustration of folders, blank ...">
            <a:extLst>
              <a:ext uri="{FF2B5EF4-FFF2-40B4-BE49-F238E27FC236}">
                <a16:creationId xmlns:a16="http://schemas.microsoft.com/office/drawing/2014/main" id="{B136FC9F-624E-7F73-95FC-8E5F14F9E2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5939" y="3962447"/>
            <a:ext cx="301553" cy="35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817CF6F-6444-CE71-171E-B2621E31C96D}"/>
              </a:ext>
            </a:extLst>
          </p:cNvPr>
          <p:cNvSpPr txBox="1"/>
          <p:nvPr/>
        </p:nvSpPr>
        <p:spPr>
          <a:xfrm>
            <a:off x="7277519" y="9568"/>
            <a:ext cx="1793415" cy="174856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312"/>
              </a:spcBef>
            </a:pPr>
            <a:r>
              <a:rPr lang="en-US" sz="800" dirty="0">
                <a:solidFill>
                  <a:srgbClr val="000000"/>
                </a:solidFill>
              </a:rPr>
              <a:t>Data as per April 20th, 2023</a:t>
            </a:r>
          </a:p>
        </p:txBody>
      </p:sp>
    </p:spTree>
    <p:extLst>
      <p:ext uri="{BB962C8B-B14F-4D97-AF65-F5344CB8AC3E}">
        <p14:creationId xmlns:p14="http://schemas.microsoft.com/office/powerpoint/2010/main" val="35325301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E9000D-D28A-D02D-6783-AA4ED2003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w-Risk Mothe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BDA942E-177E-3E26-0708-9DAAB505A0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5140" y="1704328"/>
            <a:ext cx="5689600" cy="14986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4501218-B6DF-A226-B12C-0A27DA9A79C8}"/>
              </a:ext>
            </a:extLst>
          </p:cNvPr>
          <p:cNvSpPr txBox="1"/>
          <p:nvPr/>
        </p:nvSpPr>
        <p:spPr>
          <a:xfrm>
            <a:off x="255026" y="2952078"/>
            <a:ext cx="2497139" cy="1680332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A79D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Mary, a 30-year-old, has 2 children</a:t>
            </a:r>
          </a:p>
          <a:p>
            <a:pPr marL="171450" marR="0" lvl="0" indent="-1714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Enrolled early at 12 weeks</a:t>
            </a:r>
          </a:p>
          <a:p>
            <a:pPr marL="171450" marR="0" lvl="0" indent="-1714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She has had no previous pregnancy complications</a:t>
            </a:r>
          </a:p>
          <a:p>
            <a:pPr marL="171450" marR="0" lvl="0" indent="-1714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She has a stable marriage and currently sells water bottles at the bus stops; all her children are healthy</a:t>
            </a:r>
          </a:p>
          <a:p>
            <a:pPr marL="0" marR="0" lvl="0" indent="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6D24AA9-4205-B557-3185-3A9237E1449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96" y="1136372"/>
            <a:ext cx="1975884" cy="1317256"/>
          </a:xfrm>
          <a:prstGeom prst="rect">
            <a:avLst/>
          </a:prstGeom>
          <a:ln w="38100"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1BE028E-C9A1-F62F-E1AB-2BF69CA1619B}"/>
              </a:ext>
            </a:extLst>
          </p:cNvPr>
          <p:cNvSpPr txBox="1"/>
          <p:nvPr/>
        </p:nvSpPr>
        <p:spPr>
          <a:xfrm>
            <a:off x="3639670" y="11183"/>
            <a:ext cx="5504330" cy="190886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marR="0" lvl="0" indent="0" algn="r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900" b="0" i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Note: Realistic, but fictional patient profiles (for privacy reasons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C64C360-0C77-BCBE-0202-BABF2A4E2DCB}"/>
              </a:ext>
            </a:extLst>
          </p:cNvPr>
          <p:cNvSpPr txBox="1"/>
          <p:nvPr/>
        </p:nvSpPr>
        <p:spPr>
          <a:xfrm>
            <a:off x="3095140" y="1420834"/>
            <a:ext cx="2497139" cy="335605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b="1">
                <a:solidFill>
                  <a:srgbClr val="00A79D"/>
                </a:solidFill>
              </a:rPr>
              <a:t>88-92 % </a:t>
            </a:r>
            <a:r>
              <a:rPr lang="en-US" sz="1050">
                <a:solidFill>
                  <a:srgbClr val="000000"/>
                </a:solidFill>
              </a:rPr>
              <a:t>low-risk mothers</a:t>
            </a:r>
            <a:endParaRPr lang="en-US" sz="2400">
              <a:solidFill>
                <a:srgbClr val="000000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C63D0581-0ACF-8358-6918-8B4E247C301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850" y="1018142"/>
            <a:ext cx="1798170" cy="275998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0C21FA2-B45E-A0AA-1818-CF9353D507E2}"/>
              </a:ext>
            </a:extLst>
          </p:cNvPr>
          <p:cNvCxnSpPr/>
          <p:nvPr/>
        </p:nvCxnSpPr>
        <p:spPr>
          <a:xfrm>
            <a:off x="3095140" y="1772227"/>
            <a:ext cx="2497139" cy="0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B6564C6-FD61-40AD-78DE-91F013EFE2E2}"/>
              </a:ext>
            </a:extLst>
          </p:cNvPr>
          <p:cNvCxnSpPr>
            <a:cxnSpLocks/>
          </p:cNvCxnSpPr>
          <p:nvPr/>
        </p:nvCxnSpPr>
        <p:spPr>
          <a:xfrm>
            <a:off x="2816234" y="1018142"/>
            <a:ext cx="0" cy="3867872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8561C31-71D2-7C6B-3B76-C9F87703464F}"/>
              </a:ext>
            </a:extLst>
          </p:cNvPr>
          <p:cNvCxnSpPr/>
          <p:nvPr/>
        </p:nvCxnSpPr>
        <p:spPr>
          <a:xfrm>
            <a:off x="6391835" y="3300666"/>
            <a:ext cx="2497139" cy="0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6" name="Picture 45">
            <a:extLst>
              <a:ext uri="{FF2B5EF4-FFF2-40B4-BE49-F238E27FC236}">
                <a16:creationId xmlns:a16="http://schemas.microsoft.com/office/drawing/2014/main" id="{D8226608-D498-A6FE-4BA2-D245E1581E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40404" y="3418696"/>
            <a:ext cx="1152000" cy="1213714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579D5D51-4576-0F02-E692-547163D61850}"/>
              </a:ext>
            </a:extLst>
          </p:cNvPr>
          <p:cNvSpPr txBox="1"/>
          <p:nvPr/>
        </p:nvSpPr>
        <p:spPr>
          <a:xfrm>
            <a:off x="5487200" y="4613479"/>
            <a:ext cx="2497139" cy="990592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b="1">
                <a:solidFill>
                  <a:srgbClr val="00A79D"/>
                </a:solidFill>
              </a:rPr>
              <a:t>17% </a:t>
            </a: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</a:rPr>
              <a:t>increase in # ANC</a:t>
            </a:r>
            <a:endParaRPr lang="en-US" sz="1050">
              <a:solidFill>
                <a:srgbClr val="000000"/>
              </a:solidFill>
              <a:sym typeface="Wingdings" pitchFamily="2" charset="2"/>
            </a:endParaRP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endParaRPr lang="en-US" sz="1050">
              <a:solidFill>
                <a:srgbClr val="000000"/>
              </a:solidFill>
              <a:sym typeface="Wingdings" pitchFamily="2" charset="2"/>
            </a:endParaRP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  <a:sym typeface="Wingdings" pitchFamily="2" charset="2"/>
              </a:rPr>
              <a:t> 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ACC955C-B517-447E-0632-2DCE92DC5D53}"/>
              </a:ext>
            </a:extLst>
          </p:cNvPr>
          <p:cNvSpPr txBox="1"/>
          <p:nvPr/>
        </p:nvSpPr>
        <p:spPr>
          <a:xfrm>
            <a:off x="6967834" y="4613479"/>
            <a:ext cx="2497139" cy="990592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b="1">
                <a:solidFill>
                  <a:srgbClr val="00A79D"/>
                </a:solidFill>
              </a:rPr>
              <a:t>15% </a:t>
            </a: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</a:rPr>
              <a:t>increase in % ANC profile</a:t>
            </a:r>
            <a:endParaRPr lang="en-US" sz="1050">
              <a:solidFill>
                <a:srgbClr val="000000"/>
              </a:solidFill>
              <a:sym typeface="Wingdings" pitchFamily="2" charset="2"/>
            </a:endParaRP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endParaRPr lang="en-US" sz="1050">
              <a:solidFill>
                <a:srgbClr val="000000"/>
              </a:solidFill>
              <a:sym typeface="Wingdings" pitchFamily="2" charset="2"/>
            </a:endParaRP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  <a:sym typeface="Wingdings" pitchFamily="2" charset="2"/>
              </a:rPr>
              <a:t> </a:t>
            </a:r>
            <a:endParaRPr lang="en-US" sz="2400">
              <a:solidFill>
                <a:srgbClr val="000000"/>
              </a:solidFill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32F15FCA-267A-EF12-F7FC-D19E0FF315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7360" y="3418696"/>
            <a:ext cx="1152000" cy="1213714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441D056-D748-EDA5-A7B6-73FA21B860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40404" y="3429186"/>
            <a:ext cx="1152000" cy="1213714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840617AC-7853-8E18-1CD7-B690D6ABE85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57360" y="3429186"/>
            <a:ext cx="1152000" cy="1213714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61D2EC2D-1D3D-F91B-E13A-5217DF26E9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37412" y="3473734"/>
            <a:ext cx="1152000" cy="1213714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5E7F6EC2-F46D-537F-B503-B6375E696F7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40403" y="3459456"/>
            <a:ext cx="1152000" cy="121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730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CB933A-EDF1-D953-21DC-3FE5BCA90A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troduction</a:t>
            </a:r>
          </a:p>
          <a:p>
            <a:pPr marL="558800" lvl="1" indent="-285750">
              <a:buFont typeface="Arial" panose="020B0604020202020204" pitchFamily="34" charset="0"/>
              <a:buChar char="•"/>
            </a:pPr>
            <a:r>
              <a:rPr lang="en-US"/>
              <a:t>Outcomes &amp; Barriers</a:t>
            </a:r>
          </a:p>
          <a:p>
            <a:pPr marL="558800" lvl="1" indent="-285750">
              <a:buFont typeface="Arial" panose="020B0604020202020204" pitchFamily="34" charset="0"/>
              <a:buChar char="•"/>
            </a:pPr>
            <a:r>
              <a:rPr lang="en-US"/>
              <a:t>Vision</a:t>
            </a:r>
          </a:p>
          <a:p>
            <a:pPr marL="558800" lvl="1" indent="-285750">
              <a:buFont typeface="Arial" panose="020B0604020202020204" pitchFamily="34" charset="0"/>
              <a:buChar char="•"/>
            </a:pPr>
            <a:r>
              <a:rPr lang="en-US" err="1"/>
              <a:t>MomCare</a:t>
            </a:r>
            <a:r>
              <a:rPr lang="en-US"/>
              <a:t> program overview</a:t>
            </a:r>
          </a:p>
          <a:p>
            <a:pPr marL="558800" lvl="1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egmentation</a:t>
            </a:r>
          </a:p>
          <a:p>
            <a:pPr marL="558800" lvl="1" indent="-285750">
              <a:buFont typeface="Arial" panose="020B0604020202020204" pitchFamily="34" charset="0"/>
              <a:buChar char="•"/>
            </a:pPr>
            <a:r>
              <a:rPr lang="en-US"/>
              <a:t>Groups</a:t>
            </a:r>
          </a:p>
          <a:p>
            <a:pPr marL="819150" lvl="2" indent="-285750">
              <a:buFont typeface="Arial" panose="020B0604020202020204" pitchFamily="34" charset="0"/>
              <a:buChar char="•"/>
            </a:pPr>
            <a:r>
              <a:rPr lang="en-US"/>
              <a:t>Low-risk</a:t>
            </a:r>
          </a:p>
          <a:p>
            <a:pPr marL="819150" lvl="2" indent="-285750">
              <a:buFont typeface="Arial" panose="020B0604020202020204" pitchFamily="34" charset="0"/>
              <a:buChar char="•"/>
            </a:pPr>
            <a:r>
              <a:rPr lang="en-US"/>
              <a:t>High-risk</a:t>
            </a:r>
          </a:p>
          <a:p>
            <a:pPr marL="819150" lvl="2" indent="-285750">
              <a:buFont typeface="Arial" panose="020B0604020202020204" pitchFamily="34" charset="0"/>
              <a:buChar char="•"/>
            </a:pPr>
            <a:r>
              <a:rPr lang="en-US"/>
              <a:t>Teenage</a:t>
            </a:r>
          </a:p>
          <a:p>
            <a:pPr marL="819150" lvl="2" indent="-285750">
              <a:buFont typeface="Arial" panose="020B0604020202020204" pitchFamily="34" charset="0"/>
              <a:buChar char="•"/>
            </a:pPr>
            <a:r>
              <a:rPr lang="en-US"/>
              <a:t>Risk of perinatal depression</a:t>
            </a:r>
          </a:p>
          <a:p>
            <a:pPr marL="558800" lvl="1" indent="-285750">
              <a:buFont typeface="Arial" panose="020B0604020202020204" pitchFamily="34" charset="0"/>
              <a:buChar char="•"/>
            </a:pPr>
            <a:r>
              <a:rPr lang="en-US"/>
              <a:t>Next ste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ECE3DE-EB3A-B975-CB26-93A966AE0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</a:t>
            </a:r>
          </a:p>
        </p:txBody>
      </p:sp>
    </p:spTree>
    <p:extLst>
      <p:ext uri="{BB962C8B-B14F-4D97-AF65-F5344CB8AC3E}">
        <p14:creationId xmlns:p14="http://schemas.microsoft.com/office/powerpoint/2010/main" val="6630493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E9000D-D28A-D02D-6783-AA4ED2003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gh-Risk Mothe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501218-B6DF-A226-B12C-0A27DA9A79C8}"/>
              </a:ext>
            </a:extLst>
          </p:cNvPr>
          <p:cNvSpPr txBox="1"/>
          <p:nvPr/>
        </p:nvSpPr>
        <p:spPr>
          <a:xfrm>
            <a:off x="255026" y="2952078"/>
            <a:ext cx="2497139" cy="1866537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Faith, a 35-year-old, has 1 child</a:t>
            </a:r>
          </a:p>
          <a:p>
            <a:pPr marL="171450" marR="0" lvl="0" indent="-1714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History of miscarriage, antepartum haemorrhage and Malaria</a:t>
            </a:r>
          </a:p>
          <a:p>
            <a:pPr marL="171450" marR="0" lvl="0" indent="-1714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She has a stable marriage, but her husband is often away for long periods to work</a:t>
            </a:r>
          </a:p>
          <a:p>
            <a:pPr marL="171450" marR="0" lvl="0" indent="-1714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She is very anxious about this pregnancy and enrolled early</a:t>
            </a:r>
          </a:p>
          <a:p>
            <a:pPr marL="0" marR="0" lvl="0" indent="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BE028E-C9A1-F62F-E1AB-2BF69CA1619B}"/>
              </a:ext>
            </a:extLst>
          </p:cNvPr>
          <p:cNvSpPr txBox="1"/>
          <p:nvPr/>
        </p:nvSpPr>
        <p:spPr>
          <a:xfrm>
            <a:off x="3639670" y="11183"/>
            <a:ext cx="5504330" cy="190886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marR="0" lvl="0" indent="0" algn="r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900" b="0" i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Note: Realistic, but fictional patient profiles (for privacy reasons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C64C360-0C77-BCBE-0202-BABF2A4E2DCB}"/>
              </a:ext>
            </a:extLst>
          </p:cNvPr>
          <p:cNvSpPr txBox="1"/>
          <p:nvPr/>
        </p:nvSpPr>
        <p:spPr>
          <a:xfrm>
            <a:off x="3095140" y="1420834"/>
            <a:ext cx="2497139" cy="335605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b="1">
                <a:solidFill>
                  <a:srgbClr val="F26522"/>
                </a:solidFill>
              </a:rPr>
              <a:t>8-12 % </a:t>
            </a:r>
            <a:r>
              <a:rPr lang="en-US" sz="1050">
                <a:solidFill>
                  <a:srgbClr val="000000"/>
                </a:solidFill>
              </a:rPr>
              <a:t>high-risk mothers</a:t>
            </a:r>
            <a:endParaRPr lang="en-US" sz="2400">
              <a:solidFill>
                <a:srgbClr val="000000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0C21FA2-B45E-A0AA-1818-CF9353D507E2}"/>
              </a:ext>
            </a:extLst>
          </p:cNvPr>
          <p:cNvCxnSpPr>
            <a:cxnSpLocks/>
          </p:cNvCxnSpPr>
          <p:nvPr/>
        </p:nvCxnSpPr>
        <p:spPr>
          <a:xfrm>
            <a:off x="3095140" y="1772227"/>
            <a:ext cx="1754652" cy="0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B6564C6-FD61-40AD-78DE-91F013EFE2E2}"/>
              </a:ext>
            </a:extLst>
          </p:cNvPr>
          <p:cNvCxnSpPr>
            <a:cxnSpLocks/>
          </p:cNvCxnSpPr>
          <p:nvPr/>
        </p:nvCxnSpPr>
        <p:spPr>
          <a:xfrm>
            <a:off x="2816234" y="1018142"/>
            <a:ext cx="0" cy="3867872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8561C31-71D2-7C6B-3B76-C9F87703464F}"/>
              </a:ext>
            </a:extLst>
          </p:cNvPr>
          <p:cNvCxnSpPr/>
          <p:nvPr/>
        </p:nvCxnSpPr>
        <p:spPr>
          <a:xfrm>
            <a:off x="6391833" y="3400241"/>
            <a:ext cx="2497139" cy="0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5E0ED26-45F0-1451-3D35-EE41853F7FDD}"/>
              </a:ext>
            </a:extLst>
          </p:cNvPr>
          <p:cNvSpPr txBox="1"/>
          <p:nvPr/>
        </p:nvSpPr>
        <p:spPr>
          <a:xfrm>
            <a:off x="436423" y="1588636"/>
            <a:ext cx="1679510" cy="303481"/>
          </a:xfrm>
          <a:prstGeom prst="rect">
            <a:avLst/>
          </a:prstGeom>
          <a:solidFill>
            <a:srgbClr val="FFFF00"/>
          </a:solidFill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/>
              <a:t>Change person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359379-74F2-2739-3493-0E7609D818CA}"/>
              </a:ext>
            </a:extLst>
          </p:cNvPr>
          <p:cNvSpPr txBox="1"/>
          <p:nvPr/>
        </p:nvSpPr>
        <p:spPr>
          <a:xfrm>
            <a:off x="5487200" y="4613479"/>
            <a:ext cx="2497139" cy="990592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b="1">
                <a:solidFill>
                  <a:srgbClr val="F26522"/>
                </a:solidFill>
              </a:rPr>
              <a:t>-</a:t>
            </a: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  <a:sym typeface="Wingdings" pitchFamily="2" charset="2"/>
              </a:rPr>
              <a:t># of ANCS stable</a:t>
            </a: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endParaRPr lang="en-US" sz="1050">
              <a:solidFill>
                <a:srgbClr val="000000"/>
              </a:solidFill>
              <a:sym typeface="Wingdings" pitchFamily="2" charset="2"/>
            </a:endParaRP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  <a:sym typeface="Wingdings" pitchFamily="2" charset="2"/>
              </a:rPr>
              <a:t> 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3730448-14DA-95F8-B181-703BA2709E00}"/>
              </a:ext>
            </a:extLst>
          </p:cNvPr>
          <p:cNvSpPr txBox="1"/>
          <p:nvPr/>
        </p:nvSpPr>
        <p:spPr>
          <a:xfrm>
            <a:off x="6967834" y="4613479"/>
            <a:ext cx="2497139" cy="990592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b="1">
                <a:solidFill>
                  <a:srgbClr val="F26522"/>
                </a:solidFill>
              </a:rPr>
              <a:t>25% </a:t>
            </a: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</a:rPr>
              <a:t>increase in % ANC profile</a:t>
            </a:r>
            <a:endParaRPr lang="en-US" sz="1050">
              <a:solidFill>
                <a:srgbClr val="000000"/>
              </a:solidFill>
              <a:sym typeface="Wingdings" pitchFamily="2" charset="2"/>
            </a:endParaRP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endParaRPr lang="en-US" sz="1050">
              <a:solidFill>
                <a:srgbClr val="000000"/>
              </a:solidFill>
              <a:sym typeface="Wingdings" pitchFamily="2" charset="2"/>
            </a:endParaRP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  <a:sym typeface="Wingdings" pitchFamily="2" charset="2"/>
              </a:rPr>
              <a:t> </a:t>
            </a:r>
            <a:endParaRPr lang="en-US" sz="2400">
              <a:solidFill>
                <a:srgbClr val="00000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152697C-2F7A-7C8F-A97E-A98EE28657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7412" y="3473734"/>
            <a:ext cx="1152000" cy="121371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CEBA327-37B4-452E-8418-8F8EF89332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0403" y="3459456"/>
            <a:ext cx="1152000" cy="12137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90F337B-814D-3318-E623-1237E6BE4A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9227" y="3424807"/>
            <a:ext cx="1152000" cy="121371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D7C390D-0387-7050-B112-B4F8542106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90697" y="3455826"/>
            <a:ext cx="1152000" cy="121371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1F9C226-0EBD-422A-D5E5-C91361D582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27417" y="1228125"/>
            <a:ext cx="5600700" cy="21844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9985343-FFB0-C7D3-C400-1D54108875D1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850" y="1018142"/>
            <a:ext cx="1800000" cy="276279"/>
          </a:xfrm>
          <a:prstGeom prst="rect">
            <a:avLst/>
          </a:prstGeom>
        </p:spPr>
      </p:pic>
      <p:pic>
        <p:nvPicPr>
          <p:cNvPr id="7170" name="Picture 2">
            <a:extLst>
              <a:ext uri="{FF2B5EF4-FFF2-40B4-BE49-F238E27FC236}">
                <a16:creationId xmlns:a16="http://schemas.microsoft.com/office/drawing/2014/main" id="{A347838A-19C7-B168-A602-8654AA6574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9486" y="1057668"/>
            <a:ext cx="2270610" cy="1607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78422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BD194A7-C5A9-2D8C-3FE1-A5FB9A2C36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BD194A7-C5A9-2D8C-3FE1-A5FB9A2C36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16538D3-1B43-6B4A-B025-C9CB6D78B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omCare</a:t>
            </a:r>
            <a:r>
              <a:rPr lang="en-US"/>
              <a:t> digital tools support medical staff for high-risk mothers</a:t>
            </a:r>
            <a:endParaRPr lang="en-US"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638190-8544-DA81-8DAE-83F77420679A}"/>
              </a:ext>
            </a:extLst>
          </p:cNvPr>
          <p:cNvSpPr txBox="1">
            <a:spLocks/>
          </p:cNvSpPr>
          <p:nvPr/>
        </p:nvSpPr>
        <p:spPr>
          <a:xfrm>
            <a:off x="8601076" y="4791075"/>
            <a:ext cx="431010" cy="25542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algn="r" defTabSz="188856">
              <a:defRPr sz="1000" b="1"/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fld id="{9C24207B-2825-1344-BA70-0110A4EF1B0C}" type="slidenum">
              <a:rPr lang="en-GB"/>
              <a:pPr/>
              <a:t>21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122BA5-6E5F-18F6-C986-6B8EF2921CAD}"/>
              </a:ext>
            </a:extLst>
          </p:cNvPr>
          <p:cNvSpPr/>
          <p:nvPr/>
        </p:nvSpPr>
        <p:spPr>
          <a:xfrm>
            <a:off x="0" y="0"/>
            <a:ext cx="2700000" cy="1620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1050">
                <a:solidFill>
                  <a:srgbClr val="00558F"/>
                </a:solidFill>
                <a:cs typeface="Calibri"/>
              </a:rPr>
              <a:t>Care Bundle | Payments | </a:t>
            </a:r>
            <a:r>
              <a:rPr lang="en-US" sz="1050" b="1">
                <a:solidFill>
                  <a:srgbClr val="00558F"/>
                </a:solidFill>
                <a:cs typeface="Calibri"/>
              </a:rPr>
              <a:t>Insights</a:t>
            </a:r>
            <a:r>
              <a:rPr lang="en-US" sz="1050">
                <a:solidFill>
                  <a:srgbClr val="00558F"/>
                </a:solidFill>
                <a:cs typeface="Calibri"/>
              </a:rPr>
              <a:t> | </a:t>
            </a:r>
            <a:r>
              <a:rPr lang="en-US" sz="1050" b="1">
                <a:solidFill>
                  <a:srgbClr val="00558F"/>
                </a:solidFill>
                <a:cs typeface="Calibri"/>
              </a:rPr>
              <a:t>Nudges</a:t>
            </a:r>
            <a:endParaRPr lang="en-US" sz="1050" b="1">
              <a:solidFill>
                <a:srgbClr val="00558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C98027-79E9-5C7A-DE40-596D6F5A013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2617"/>
          <a:stretch/>
        </p:blipFill>
        <p:spPr>
          <a:xfrm>
            <a:off x="143772" y="961994"/>
            <a:ext cx="5795474" cy="188525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B1767C-E593-EF4B-1540-D86C331C124E}"/>
              </a:ext>
            </a:extLst>
          </p:cNvPr>
          <p:cNvSpPr txBox="1"/>
          <p:nvPr/>
        </p:nvSpPr>
        <p:spPr>
          <a:xfrm>
            <a:off x="405223" y="3719841"/>
            <a:ext cx="2425405" cy="923330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 panose="020F0502020204030204" pitchFamily="34" charset="0"/>
              </a:rPr>
              <a:t>Risk stratification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 panose="020F0502020204030204" pitchFamily="34" charset="0"/>
              </a:rPr>
              <a:t>Test &amp; Treat flagged case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 panose="020F0502020204030204" pitchFamily="34" charset="0"/>
              </a:rPr>
              <a:t>Pre-delivery filter lists 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02DCDEE-9C96-9A1E-B157-B93B8FDD8FF7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1700" y="3041653"/>
            <a:ext cx="5275091" cy="199517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A35594A-D5E1-7695-2CE3-BA60B5702FD4}"/>
              </a:ext>
            </a:extLst>
          </p:cNvPr>
          <p:cNvSpPr txBox="1"/>
          <p:nvPr/>
        </p:nvSpPr>
        <p:spPr>
          <a:xfrm>
            <a:off x="6357600" y="1420984"/>
            <a:ext cx="3036728" cy="923330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 panose="020F0502020204030204" pitchFamily="34" charset="0"/>
              </a:rPr>
              <a:t>Moms2Be calls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 panose="020F0502020204030204" pitchFamily="34" charset="0"/>
              </a:rPr>
              <a:t>Outcomes data collection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 panose="020F0502020204030204" pitchFamily="34" charset="0"/>
              </a:rPr>
              <a:t>Journey quality assessment</a:t>
            </a:r>
          </a:p>
        </p:txBody>
      </p:sp>
    </p:spTree>
    <p:extLst>
      <p:ext uri="{BB962C8B-B14F-4D97-AF65-F5344CB8AC3E}">
        <p14:creationId xmlns:p14="http://schemas.microsoft.com/office/powerpoint/2010/main" val="4307140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E9000D-D28A-D02D-6783-AA4ED2003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thers at risk for perinatal depress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BE028E-C9A1-F62F-E1AB-2BF69CA1619B}"/>
              </a:ext>
            </a:extLst>
          </p:cNvPr>
          <p:cNvSpPr txBox="1"/>
          <p:nvPr/>
        </p:nvSpPr>
        <p:spPr>
          <a:xfrm>
            <a:off x="3639670" y="11183"/>
            <a:ext cx="5504330" cy="190886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marR="0" lvl="0" indent="0" algn="r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900" b="0" i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Note: Realistic, but fictional patient profiles (for privacy reasons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C64C360-0C77-BCBE-0202-BABF2A4E2DCB}"/>
              </a:ext>
            </a:extLst>
          </p:cNvPr>
          <p:cNvSpPr txBox="1"/>
          <p:nvPr/>
        </p:nvSpPr>
        <p:spPr>
          <a:xfrm>
            <a:off x="3095140" y="1420834"/>
            <a:ext cx="2497139" cy="335605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b="1">
                <a:solidFill>
                  <a:srgbClr val="EC008C"/>
                </a:solidFill>
              </a:rPr>
              <a:t>10 % </a:t>
            </a:r>
            <a:r>
              <a:rPr lang="en-US" sz="1050">
                <a:solidFill>
                  <a:srgbClr val="000000"/>
                </a:solidFill>
              </a:rPr>
              <a:t>with low mental health score</a:t>
            </a:r>
            <a:endParaRPr lang="en-US" sz="2400">
              <a:solidFill>
                <a:srgbClr val="000000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0C21FA2-B45E-A0AA-1818-CF9353D507E2}"/>
              </a:ext>
            </a:extLst>
          </p:cNvPr>
          <p:cNvCxnSpPr/>
          <p:nvPr/>
        </p:nvCxnSpPr>
        <p:spPr>
          <a:xfrm>
            <a:off x="3095140" y="1772227"/>
            <a:ext cx="2497139" cy="0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B6564C6-FD61-40AD-78DE-91F013EFE2E2}"/>
              </a:ext>
            </a:extLst>
          </p:cNvPr>
          <p:cNvCxnSpPr>
            <a:cxnSpLocks/>
          </p:cNvCxnSpPr>
          <p:nvPr/>
        </p:nvCxnSpPr>
        <p:spPr>
          <a:xfrm>
            <a:off x="2816234" y="1018142"/>
            <a:ext cx="0" cy="3867872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8561C31-71D2-7C6B-3B76-C9F87703464F}"/>
              </a:ext>
            </a:extLst>
          </p:cNvPr>
          <p:cNvCxnSpPr/>
          <p:nvPr/>
        </p:nvCxnSpPr>
        <p:spPr>
          <a:xfrm>
            <a:off x="6391835" y="3769013"/>
            <a:ext cx="2497139" cy="0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9BCAC6A7-2C1C-581B-64E0-2AF7F455F0A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526" y="1045184"/>
            <a:ext cx="1966803" cy="1225270"/>
          </a:xfrm>
          <a:prstGeom prst="rect">
            <a:avLst/>
          </a:prstGeom>
          <a:ln w="38100"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AFAEF9C-20AB-92A3-813D-B5354B27F827}"/>
              </a:ext>
            </a:extLst>
          </p:cNvPr>
          <p:cNvSpPr txBox="1"/>
          <p:nvPr/>
        </p:nvSpPr>
        <p:spPr>
          <a:xfrm>
            <a:off x="155437" y="2591994"/>
            <a:ext cx="2457295" cy="206980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marR="0" lvl="0" indent="0" algn="ctr" defTabSz="457189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EC008C"/>
                </a:solidFill>
                <a:effectLst/>
                <a:uLnTx/>
                <a:uFillTx/>
                <a:latin typeface="Calibri" charset="0"/>
                <a:ea typeface="ＭＳ Ｐゴシック" charset="0"/>
                <a:cs typeface="+mn-cs"/>
              </a:rPr>
              <a:t>Susan, a 22-year-old, first chil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2459CC-0C05-2F2B-1F21-D88878AA110D}"/>
              </a:ext>
            </a:extLst>
          </p:cNvPr>
          <p:cNvSpPr txBox="1"/>
          <p:nvPr/>
        </p:nvSpPr>
        <p:spPr>
          <a:xfrm>
            <a:off x="505195" y="2808946"/>
            <a:ext cx="2317924" cy="852926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171446" marR="0" lvl="0" indent="-171446" algn="l" defTabSz="457189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  <a:cs typeface="+mn-cs"/>
              </a:rPr>
              <a:t>2 ANC’s, 2 ultrasounds, counselling</a:t>
            </a:r>
          </a:p>
          <a:p>
            <a:pPr marL="171446" marR="0" lvl="0" indent="-171446" algn="l" defTabSz="457189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  <a:cs typeface="+mn-cs"/>
              </a:rPr>
              <a:t>Caesarean section</a:t>
            </a:r>
          </a:p>
          <a:p>
            <a:pPr marL="171446" marR="0" lvl="0" indent="-171446" algn="l" defTabSz="457189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  <a:cs typeface="+mn-cs"/>
              </a:rPr>
              <a:t>Treatment for recurrent urinary tract infection</a:t>
            </a:r>
          </a:p>
          <a:p>
            <a:pPr marL="171446" marR="0" lvl="0" indent="-171446" algn="l" defTabSz="457189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  <a:cs typeface="+mn-cs"/>
              </a:rPr>
              <a:t>Healthy baby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634DC6D-D285-C524-008A-16BA0A8BB077}"/>
              </a:ext>
            </a:extLst>
          </p:cNvPr>
          <p:cNvSpPr/>
          <p:nvPr/>
        </p:nvSpPr>
        <p:spPr>
          <a:xfrm>
            <a:off x="410635" y="3953359"/>
            <a:ext cx="2202097" cy="932655"/>
          </a:xfrm>
          <a:prstGeom prst="roundRect">
            <a:avLst/>
          </a:prstGeom>
          <a:solidFill>
            <a:srgbClr val="EC00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100"/>
              <a:t>“Empower me on how to embrace this new motherhood season without fear Counseling to stop me from getting depressed”</a:t>
            </a:r>
          </a:p>
          <a:p>
            <a:pPr algn="l"/>
            <a:endParaRPr lang="en-US" sz="1100" b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E77559-679C-1A64-EC20-EAF1080CD9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0533" y="1772227"/>
            <a:ext cx="5600700" cy="19939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C2D1359-18B3-B0B7-3BCD-8ADF064F159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850" y="1019783"/>
            <a:ext cx="1800000" cy="27627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8A3FC0A-8A6D-84E8-6AAC-34D8835AA5E5}"/>
              </a:ext>
            </a:extLst>
          </p:cNvPr>
          <p:cNvSpPr txBox="1"/>
          <p:nvPr/>
        </p:nvSpPr>
        <p:spPr>
          <a:xfrm>
            <a:off x="6761437" y="3978507"/>
            <a:ext cx="2127537" cy="882357"/>
          </a:xfrm>
          <a:prstGeom prst="rect">
            <a:avLst/>
          </a:prstGeom>
          <a:solidFill>
            <a:srgbClr val="FCE4E5"/>
          </a:solidFill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200">
                <a:solidFill>
                  <a:srgbClr val="000000"/>
                </a:solidFill>
              </a:rPr>
              <a:t>Group-based mental health intervention was </a:t>
            </a:r>
            <a:r>
              <a:rPr lang="en-US" sz="1400" b="1">
                <a:solidFill>
                  <a:srgbClr val="EC008C"/>
                </a:solidFill>
              </a:rPr>
              <a:t>acceptable </a:t>
            </a:r>
            <a:r>
              <a:rPr lang="en-US" sz="1200">
                <a:solidFill>
                  <a:srgbClr val="000000"/>
                </a:solidFill>
              </a:rPr>
              <a:t>and seems to improve mental health and in-network delivery</a:t>
            </a:r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3802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48ED3D2F-E203-D36B-B525-74EE27CDAB4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9596" y="1019129"/>
            <a:ext cx="1800000" cy="276279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0C21FA2-B45E-A0AA-1818-CF9353D507E2}"/>
              </a:ext>
            </a:extLst>
          </p:cNvPr>
          <p:cNvCxnSpPr/>
          <p:nvPr/>
        </p:nvCxnSpPr>
        <p:spPr>
          <a:xfrm>
            <a:off x="3095140" y="1783802"/>
            <a:ext cx="2497139" cy="0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8CE9000D-D28A-D02D-6783-AA4ED2003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enage Mothers (&lt;19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BE028E-C9A1-F62F-E1AB-2BF69CA1619B}"/>
              </a:ext>
            </a:extLst>
          </p:cNvPr>
          <p:cNvSpPr txBox="1"/>
          <p:nvPr/>
        </p:nvSpPr>
        <p:spPr>
          <a:xfrm>
            <a:off x="3639670" y="11183"/>
            <a:ext cx="5504330" cy="381708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marR="0" lvl="0" indent="0" algn="r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900" b="0" i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Note: Realistic, but fictional patient profiles (for privacy reason)s</a:t>
            </a:r>
          </a:p>
          <a:p>
            <a:pPr marL="0" marR="0" lvl="0" indent="0" algn="r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NL" sz="900">
                <a:solidFill>
                  <a:srgbClr val="00558F"/>
                </a:solidFill>
              </a:rPr>
              <a:t>* </a:t>
            </a:r>
            <a:r>
              <a:rPr lang="en-GB" sz="900">
                <a:solidFill>
                  <a:srgbClr val="00558F"/>
                </a:solidFill>
              </a:rPr>
              <a:t>A</a:t>
            </a:r>
            <a:r>
              <a:rPr lang="en-NL" sz="900">
                <a:solidFill>
                  <a:srgbClr val="00558F"/>
                </a:solidFill>
              </a:rPr>
              <a:t>nalysis on all mothers &lt;20</a:t>
            </a:r>
            <a:endParaRPr kumimoji="0" lang="en-NL" sz="900" b="0" i="0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C64C360-0C77-BCBE-0202-BABF2A4E2DCB}"/>
              </a:ext>
            </a:extLst>
          </p:cNvPr>
          <p:cNvSpPr txBox="1"/>
          <p:nvPr/>
        </p:nvSpPr>
        <p:spPr>
          <a:xfrm>
            <a:off x="3095140" y="1420834"/>
            <a:ext cx="3479277" cy="335605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b="1">
                <a:solidFill>
                  <a:srgbClr val="FBB040"/>
                </a:solidFill>
              </a:rPr>
              <a:t>12.4 % </a:t>
            </a:r>
            <a:r>
              <a:rPr lang="en-US" sz="1050">
                <a:solidFill>
                  <a:srgbClr val="000000"/>
                </a:solidFill>
              </a:rPr>
              <a:t>teenage mothers</a:t>
            </a:r>
            <a:endParaRPr lang="en-US" sz="2400">
              <a:solidFill>
                <a:srgbClr val="000000"/>
              </a:solidFill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B6564C6-FD61-40AD-78DE-91F013EFE2E2}"/>
              </a:ext>
            </a:extLst>
          </p:cNvPr>
          <p:cNvCxnSpPr>
            <a:cxnSpLocks/>
          </p:cNvCxnSpPr>
          <p:nvPr/>
        </p:nvCxnSpPr>
        <p:spPr>
          <a:xfrm>
            <a:off x="2816234" y="1018142"/>
            <a:ext cx="0" cy="3867872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8561C31-71D2-7C6B-3B76-C9F87703464F}"/>
              </a:ext>
            </a:extLst>
          </p:cNvPr>
          <p:cNvCxnSpPr/>
          <p:nvPr/>
        </p:nvCxnSpPr>
        <p:spPr>
          <a:xfrm>
            <a:off x="6391835" y="3185029"/>
            <a:ext cx="2497139" cy="0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C75ADCD2-22D2-CCD7-4685-4FDA59BE22F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370" y="1027606"/>
            <a:ext cx="2156917" cy="1343708"/>
          </a:xfrm>
          <a:prstGeom prst="rect">
            <a:avLst/>
          </a:prstGeom>
          <a:ln w="38100"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6E6238E-2468-46FD-0CB9-940692489CA8}"/>
              </a:ext>
            </a:extLst>
          </p:cNvPr>
          <p:cNvSpPr txBox="1"/>
          <p:nvPr/>
        </p:nvSpPr>
        <p:spPr>
          <a:xfrm>
            <a:off x="400827" y="2675275"/>
            <a:ext cx="2273460" cy="2425151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marR="0" lvl="0" indent="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Tabitha, 17-year-old, first child</a:t>
            </a:r>
          </a:p>
          <a:p>
            <a:pPr marL="171450" marR="0" lvl="0" indent="-1714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She enrolled late at 34 weeks and was diagnosed with HIV and Malaria</a:t>
            </a:r>
          </a:p>
          <a:p>
            <a:pPr marL="171450" marR="0" lvl="0" indent="-1714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She is currently a high school student but has not been attending classes due to stigma</a:t>
            </a:r>
          </a:p>
          <a:p>
            <a:pPr marL="171450" marR="0" lvl="0" indent="-1714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ＭＳ Ｐゴシック" charset="0"/>
              </a:rPr>
              <a:t>She is estranged from her parents, and currently lives with her grandmother who does not earn an income</a:t>
            </a:r>
          </a:p>
          <a:p>
            <a:pPr marL="0" marR="0" lvl="0" indent="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953D05F-4E13-B122-7AAF-A4BE62F111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5117" y="1671685"/>
            <a:ext cx="4305300" cy="1295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11121CB-3BF3-E8FE-EA2F-8F4D9B41C80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9597" y="1018059"/>
            <a:ext cx="226794" cy="27627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AAEC1AA-652A-1529-4A8E-284E42E68856}"/>
              </a:ext>
            </a:extLst>
          </p:cNvPr>
          <p:cNvSpPr txBox="1"/>
          <p:nvPr/>
        </p:nvSpPr>
        <p:spPr>
          <a:xfrm>
            <a:off x="5487200" y="4492561"/>
            <a:ext cx="2497139" cy="990592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b="1">
                <a:solidFill>
                  <a:srgbClr val="FBB040"/>
                </a:solidFill>
              </a:rPr>
              <a:t>21% </a:t>
            </a: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</a:rPr>
              <a:t>increase in # ANC*</a:t>
            </a:r>
            <a:endParaRPr lang="en-US" sz="1050">
              <a:solidFill>
                <a:srgbClr val="000000"/>
              </a:solidFill>
              <a:sym typeface="Wingdings" pitchFamily="2" charset="2"/>
            </a:endParaRP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endParaRPr lang="en-US" sz="1050">
              <a:solidFill>
                <a:srgbClr val="000000"/>
              </a:solidFill>
              <a:sym typeface="Wingdings" pitchFamily="2" charset="2"/>
            </a:endParaRP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  <a:sym typeface="Wingdings" pitchFamily="2" charset="2"/>
              </a:rPr>
              <a:t> 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0A43309-0D2D-A2BD-E960-EDA5D0FBCDA3}"/>
              </a:ext>
            </a:extLst>
          </p:cNvPr>
          <p:cNvSpPr txBox="1"/>
          <p:nvPr/>
        </p:nvSpPr>
        <p:spPr>
          <a:xfrm>
            <a:off x="6967834" y="4492561"/>
            <a:ext cx="2497139" cy="990592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b="1">
                <a:solidFill>
                  <a:srgbClr val="FBB040"/>
                </a:solidFill>
              </a:rPr>
              <a:t>18% </a:t>
            </a: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</a:rPr>
              <a:t>increase in % ANC profile*</a:t>
            </a:r>
            <a:endParaRPr lang="en-US" sz="1050">
              <a:solidFill>
                <a:srgbClr val="000000"/>
              </a:solidFill>
              <a:sym typeface="Wingdings" pitchFamily="2" charset="2"/>
            </a:endParaRP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endParaRPr lang="en-US" sz="1050">
              <a:solidFill>
                <a:srgbClr val="000000"/>
              </a:solidFill>
              <a:sym typeface="Wingdings" pitchFamily="2" charset="2"/>
            </a:endParaRPr>
          </a:p>
          <a:p>
            <a:pPr algn="ctr">
              <a:lnSpc>
                <a:spcPct val="110000"/>
              </a:lnSpc>
              <a:spcBef>
                <a:spcPts val="312"/>
              </a:spcBef>
            </a:pPr>
            <a:r>
              <a:rPr lang="en-US" sz="1050">
                <a:solidFill>
                  <a:srgbClr val="000000"/>
                </a:solidFill>
                <a:sym typeface="Wingdings" pitchFamily="2" charset="2"/>
              </a:rPr>
              <a:t> </a:t>
            </a:r>
            <a:endParaRPr lang="en-US" sz="2400">
              <a:solidFill>
                <a:srgbClr val="000000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C573C4B-AEB8-D659-26DC-C33B23D095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40404" y="3308268"/>
            <a:ext cx="1152000" cy="121371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5E98F93-AB35-F4A1-7BFD-F72620A585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57360" y="3308268"/>
            <a:ext cx="1152000" cy="121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4088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399B6E4-9F44-BD27-7493-28F9EB5D67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1595" y="818356"/>
            <a:ext cx="7664974" cy="3506788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>
                <a:solidFill>
                  <a:srgbClr val="F26522"/>
                </a:solidFill>
              </a:rPr>
              <a:t>Ongoing research</a:t>
            </a:r>
          </a:p>
          <a:p>
            <a:pPr lvl="1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Regression analysis on &gt;55.000 journeys with ~3000 high quality patient-reported end of journey calls and ongoing data collection. Some factors of interest</a:t>
            </a:r>
          </a:p>
          <a:p>
            <a:pPr lvl="2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Poverty</a:t>
            </a:r>
          </a:p>
          <a:p>
            <a:pPr lvl="2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Existing co-morbidity</a:t>
            </a:r>
          </a:p>
          <a:p>
            <a:pPr lvl="2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Maternal literacy &amp; household education level</a:t>
            </a:r>
          </a:p>
          <a:p>
            <a:pPr lvl="2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Clinic quality</a:t>
            </a:r>
          </a:p>
          <a:p>
            <a:pPr lvl="2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Social support</a:t>
            </a:r>
          </a:p>
          <a:p>
            <a:pPr lvl="2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Region</a:t>
            </a:r>
          </a:p>
          <a:p>
            <a:pPr lvl="2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Care usage</a:t>
            </a:r>
          </a:p>
          <a:p>
            <a:pPr lvl="2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Age &gt; 35</a:t>
            </a:r>
            <a:endParaRPr lang="en-US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rgbClr val="F26522"/>
                </a:solidFill>
              </a:rPr>
              <a:t>Next steps</a:t>
            </a:r>
          </a:p>
          <a:p>
            <a:pPr lvl="1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Maternity Care</a:t>
            </a:r>
          </a:p>
          <a:p>
            <a:pPr lvl="1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Open data platform</a:t>
            </a:r>
          </a:p>
          <a:p>
            <a:pPr lvl="1">
              <a:buClr>
                <a:srgbClr val="F26522"/>
              </a:buClr>
            </a:pPr>
            <a:r>
              <a:rPr lang="en-US" sz="1200" dirty="0">
                <a:solidFill>
                  <a:srgbClr val="000000"/>
                </a:solidFill>
              </a:rPr>
              <a:t>VBC Diabetes Pilot in Ghana</a:t>
            </a:r>
          </a:p>
          <a:p>
            <a:pPr lvl="1"/>
            <a:endParaRPr lang="en-US" dirty="0">
              <a:solidFill>
                <a:srgbClr val="000000"/>
              </a:solidFill>
            </a:endParaRPr>
          </a:p>
          <a:p>
            <a:pPr lvl="1"/>
            <a:endParaRPr lang="en-US" dirty="0">
              <a:solidFill>
                <a:srgbClr val="000000"/>
              </a:solidFill>
            </a:endParaRPr>
          </a:p>
          <a:p>
            <a:pPr lvl="1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76DE566-E6A7-4A43-A199-62A131A12A4A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2">
              <a:lumMod val="50000"/>
              <a:alpha val="90000"/>
            </a:schemeClr>
          </a:solidFill>
        </p:spPr>
        <p:txBody>
          <a:bodyPr/>
          <a:lstStyle/>
          <a:p>
            <a:r>
              <a:rPr lang="en-US"/>
              <a:t>Next Ste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0B4E51-4A37-5B13-B223-8C0BC875A7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88856"/>
            <a:fld id="{9C24207B-2825-1344-BA70-0110A4EF1B0C}" type="slidenum">
              <a:rPr lang="en-GB" smtClean="0"/>
              <a:pPr defTabSz="188856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0250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A6E06A0-C2E9-7730-2EE8-6EFA9F61AE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30234" y1="54167" x2="30234" y2="54167"/>
                        <a14:foregroundMark x1="30234" y1="54167" x2="30234" y2="54167"/>
                        <a14:foregroundMark x1="30703" y1="56111" x2="24219" y2="54722"/>
                        <a14:foregroundMark x1="24219" y1="54722" x2="32109" y2="53889"/>
                        <a14:foregroundMark x1="32109" y1="53889" x2="27813" y2="60417"/>
                        <a14:foregroundMark x1="27813" y1="60417" x2="23516" y2="55417"/>
                        <a14:backgroundMark x1="39531" y1="80556" x2="39531" y2="80556"/>
                        <a14:backgroundMark x1="50000" y1="80139" x2="50000" y2="80139"/>
                        <a14:backgroundMark x1="70625" y1="46667" x2="70625" y2="46667"/>
                        <a14:backgroundMark x1="70703" y1="43889" x2="70703" y2="43889"/>
                        <a14:backgroundMark x1="71250" y1="44306" x2="71250" y2="44306"/>
                        <a14:backgroundMark x1="70938" y1="45972" x2="70938" y2="45972"/>
                        <a14:backgroundMark x1="70313" y1="45139" x2="70313" y2="45139"/>
                        <a14:backgroundMark x1="70938" y1="42500" x2="70938" y2="42500"/>
                        <a14:backgroundMark x1="74063" y1="44583" x2="74063" y2="44583"/>
                        <a14:backgroundMark x1="74297" y1="47083" x2="74297" y2="47083"/>
                        <a14:backgroundMark x1="76016" y1="41389" x2="76016" y2="413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3879" y="1053185"/>
            <a:ext cx="6376237" cy="3586634"/>
          </a:xfrm>
          <a:prstGeom prst="rect">
            <a:avLst/>
          </a:prstGeom>
          <a:noFill/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E2C8F1-1C31-4431-BF8A-689D759C05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E2C8F1-1C31-4431-BF8A-689D759C0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437FF4-1B21-42F2-B05B-F95382F665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2ABBA4-BD9B-9F2F-85EE-5C0913742195}"/>
              </a:ext>
            </a:extLst>
          </p:cNvPr>
          <p:cNvSpPr txBox="1"/>
          <p:nvPr/>
        </p:nvSpPr>
        <p:spPr>
          <a:xfrm>
            <a:off x="744481" y="503681"/>
            <a:ext cx="765503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>
                <a:solidFill>
                  <a:srgbClr val="C00000"/>
                </a:solidFill>
                <a:latin typeface="Franklin Gothic Medium" panose="020B0603020102020204" pitchFamily="34" charset="0"/>
                <a:ea typeface="ＭＳ Ｐゴシック"/>
              </a:rPr>
              <a:t>Thank you. </a:t>
            </a:r>
            <a:endParaRPr lang="en-US" sz="4000" b="1">
              <a:solidFill>
                <a:srgbClr val="C0000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7132C7-EF8A-6E19-5485-29035D39C6D5}"/>
              </a:ext>
            </a:extLst>
          </p:cNvPr>
          <p:cNvSpPr txBox="1"/>
          <p:nvPr/>
        </p:nvSpPr>
        <p:spPr>
          <a:xfrm>
            <a:off x="82296" y="4639819"/>
            <a:ext cx="4325112" cy="303416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>
                <a:solidFill>
                  <a:schemeClr val="bg1"/>
                </a:solidFill>
              </a:rPr>
              <a:t>Femke Heddema, 14/03/2023</a:t>
            </a:r>
          </a:p>
        </p:txBody>
      </p:sp>
    </p:spTree>
    <p:extLst>
      <p:ext uri="{BB962C8B-B14F-4D97-AF65-F5344CB8AC3E}">
        <p14:creationId xmlns:p14="http://schemas.microsoft.com/office/powerpoint/2010/main" val="2460595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C41E1EC-D6B0-FCA7-58A8-1929A0BB19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C41E1EC-D6B0-FCA7-58A8-1929A0BB1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EDF069F-7462-957B-A6F2-8A83C1C55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1176" y="905182"/>
            <a:ext cx="7221648" cy="3333136"/>
          </a:xfrm>
        </p:spPr>
        <p:txBody>
          <a:bodyPr vert="horz"/>
          <a:lstStyle/>
          <a:p>
            <a:pPr algn="ctr"/>
            <a:r>
              <a:rPr lang="en-US" sz="2400"/>
              <a:t>Questions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0576E1-9E0F-CC43-3572-7B3D2EED59E4}"/>
              </a:ext>
            </a:extLst>
          </p:cNvPr>
          <p:cNvSpPr/>
          <p:nvPr/>
        </p:nvSpPr>
        <p:spPr>
          <a:xfrm>
            <a:off x="2036278" y="2522220"/>
            <a:ext cx="5319744" cy="63415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algn="ctr"/>
            <a:r>
              <a:rPr lang="en-US" sz="1600">
                <a:solidFill>
                  <a:srgbClr val="00558F"/>
                </a:solidFill>
                <a:cs typeface="Calibri"/>
              </a:rPr>
              <a:t>Julie Fleischer – Manager Value Based Care</a:t>
            </a:r>
          </a:p>
          <a:p>
            <a:pPr algn="ctr"/>
            <a:r>
              <a:rPr lang="en-US" sz="1600">
                <a:solidFill>
                  <a:srgbClr val="00558F"/>
                </a:solidFill>
                <a:cs typeface="Calibri"/>
                <a:hlinkClick r:id="rId6"/>
              </a:rPr>
              <a:t>j.fleischer@pharmaccess.org</a:t>
            </a:r>
            <a:r>
              <a:rPr lang="en-US" sz="1600">
                <a:solidFill>
                  <a:srgbClr val="00558F"/>
                </a:solidFill>
                <a:cs typeface="Calibri"/>
              </a:rPr>
              <a:t> 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381B1078-AB00-EA82-5B4B-E2812DDA9A04}"/>
              </a:ext>
            </a:extLst>
          </p:cNvPr>
          <p:cNvSpPr txBox="1">
            <a:spLocks/>
          </p:cNvSpPr>
          <p:nvPr/>
        </p:nvSpPr>
        <p:spPr>
          <a:xfrm>
            <a:off x="8601076" y="4791075"/>
            <a:ext cx="431010" cy="25542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algn="r" defTabSz="188856">
              <a:defRPr sz="1000" b="1"/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fld id="{9C24207B-2825-1344-BA70-0110A4EF1B0C}" type="slidenum">
              <a:rPr lang="en-GB"/>
              <a:pPr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51122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8134A5-ABDE-B052-09D2-E3CDB46499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5400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8134A5-ABDE-B052-09D2-E3CDB4649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326872-6D36-82A4-B00C-273AE0C722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0899" y="982048"/>
            <a:ext cx="1809931" cy="1660002"/>
          </a:xfrm>
          <a:solidFill>
            <a:schemeClr val="accent2"/>
          </a:solidFill>
        </p:spPr>
        <p:txBody>
          <a:bodyPr anchor="ctr"/>
          <a:lstStyle/>
          <a:p>
            <a:pPr algn="ctr"/>
            <a:r>
              <a:rPr lang="en-US" sz="1800" b="1">
                <a:solidFill>
                  <a:schemeClr val="bg1"/>
                </a:solidFill>
              </a:rPr>
              <a:t>High Maternal and Neonatal Mortality</a:t>
            </a:r>
            <a:r>
              <a:rPr lang="en-US" sz="1800" b="1" baseline="30000">
                <a:solidFill>
                  <a:schemeClr val="bg1"/>
                </a:solidFill>
              </a:rPr>
              <a:t>1</a:t>
            </a:r>
            <a:endParaRPr lang="en-US" sz="1800" b="1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38A2A2-4EB8-DA23-9241-F252298A5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2045"/>
            <a:ext cx="7203600" cy="553886"/>
          </a:xfrm>
          <a:solidFill>
            <a:schemeClr val="tx1">
              <a:alpha val="90000"/>
            </a:schemeClr>
          </a:solidFill>
          <a:ln>
            <a:noFill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>
                <a:latin typeface="+mn-lt"/>
              </a:rPr>
              <a:t>Maternal and neonatal health is a critical area of need in Africa with a high mortality rate and several challenges to realizing universal healthcare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113042E-C7D1-65F9-C4AB-0E0A528EB84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34308"/>
              </p:ext>
            </p:extLst>
          </p:nvPr>
        </p:nvGraphicFramePr>
        <p:xfrm>
          <a:off x="2974042" y="1628549"/>
          <a:ext cx="2434469" cy="787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4308E12-62CA-4167-B6D8-7817329B10B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641010" y="2407708"/>
            <a:ext cx="5270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FAA26D3D-D897-4be2-8F04-BA451C77F1D7}">
              <ma14:placeholderFlag xmlns="" xmlns:lc="http://schemas.openxmlformats.org/drawingml/2006/lockedCanvas" xmlns:ma14="http://schemas.microsoft.com/office/mac/drawingml/2011/main" val="1"/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20A1F72-A1AA-4CB7-AD35-22AAB080D60F}" type="datetime'''Ta''''n''''''''''''z''a''n''''''i''a'">
              <a:rPr lang="en-US" altLang="en-US" sz="1050" b="1" smtClean="0">
                <a:solidFill>
                  <a:srgbClr val="C00000"/>
                </a:solidFill>
              </a:rPr>
              <a:pPr algn="ctr">
                <a:spcBef>
                  <a:spcPct val="0"/>
                </a:spcBef>
              </a:pPr>
              <a:t>Tanzania</a:t>
            </a:fld>
            <a:endParaRPr lang="en-US" sz="1050" b="1">
              <a:solidFill>
                <a:srgbClr val="C00000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0797B85-5373-E29B-5987-21DAEF5E26D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63023" y="2407708"/>
            <a:ext cx="3683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FAA26D3D-D897-4be2-8F04-BA451C77F1D7}">
              <ma14:placeholderFlag xmlns="" xmlns:lc="http://schemas.openxmlformats.org/drawingml/2006/lockedCanvas" xmlns:ma14="http://schemas.microsoft.com/office/mac/drawingml/2011/main" val="1"/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EA2D3FF-93F2-430E-8547-907D1A4B2FDA}" type="datetime'''''''''''''K''''e''''''''''''''n''''''ya'''''''''">
              <a:rPr lang="en-US" altLang="en-US" sz="1050" b="1" smtClean="0">
                <a:solidFill>
                  <a:srgbClr val="C00000"/>
                </a:solidFill>
              </a:rPr>
              <a:pPr algn="ctr">
                <a:spcBef>
                  <a:spcPct val="0"/>
                </a:spcBef>
              </a:pPr>
              <a:t>Kenya</a:t>
            </a:fld>
            <a:endParaRPr lang="en-US" sz="1050" b="1">
              <a:solidFill>
                <a:srgbClr val="C00000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40780EB-708F-C652-B67A-F8393EA0D51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401105" y="2407708"/>
            <a:ext cx="169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FAA26D3D-D897-4be2-8F04-BA451C77F1D7}">
              <ma14:placeholderFlag xmlns="" xmlns:lc="http://schemas.openxmlformats.org/drawingml/2006/lockedCanvas" xmlns:ma14="http://schemas.microsoft.com/office/mac/drawingml/2011/main" val="1"/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FC7871C-352A-4427-B7C8-29D6EF1C1615}" type="datetime'''''U''''''''''''''''''''''''''''''S'''''">
              <a:rPr lang="en-US" altLang="en-US" sz="1050" b="1" smtClean="0"/>
              <a:pPr algn="ctr">
                <a:spcBef>
                  <a:spcPct val="0"/>
                </a:spcBef>
              </a:pPr>
              <a:t>US</a:t>
            </a:fld>
            <a:endParaRPr lang="en-US" sz="1050" b="1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F3699D-DD11-8D62-9EB4-AA4A04A675D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91060" y="2407708"/>
            <a:ext cx="16351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FAA26D3D-D897-4be2-8F04-BA451C77F1D7}">
              <ma14:placeholderFlag xmlns="" xmlns:lc="http://schemas.openxmlformats.org/drawingml/2006/lockedCanvas" xmlns:ma14="http://schemas.microsoft.com/office/mac/drawingml/2011/main" val="1"/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808A644-9AFA-46CE-A2F9-75357AC96E1E}" type="datetime'''''''''''''''''''''''''''''''''N''L'''''''''">
              <a:rPr lang="en-US" altLang="en-US" sz="1050" b="1" smtClean="0"/>
              <a:pPr algn="ctr">
                <a:spcBef>
                  <a:spcPct val="0"/>
                </a:spcBef>
              </a:pPr>
              <a:t>NL</a:t>
            </a:fld>
            <a:endParaRPr lang="en-US" sz="1050" b="1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8" name="TextBox 8">
            <a:extLst>
              <a:ext uri="{FF2B5EF4-FFF2-40B4-BE49-F238E27FC236}">
                <a16:creationId xmlns:a16="http://schemas.microsoft.com/office/drawing/2014/main" id="{CD0880E9-A307-3C88-A319-CC0938A4F1B7}"/>
              </a:ext>
            </a:extLst>
          </p:cNvPr>
          <p:cNvSpPr txBox="1"/>
          <p:nvPr/>
        </p:nvSpPr>
        <p:spPr>
          <a:xfrm>
            <a:off x="2972892" y="1349699"/>
            <a:ext cx="2435618" cy="168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/>
                <a:ea typeface="ＭＳ Ｐゴシック" charset="0"/>
                <a:cs typeface="+mn-cs"/>
              </a:rPr>
              <a:t># of maternal deaths per 100,000 live birth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051F18A-5EBC-3A39-F0AC-6FF39E7BDE40}"/>
              </a:ext>
            </a:extLst>
          </p:cNvPr>
          <p:cNvCxnSpPr/>
          <p:nvPr/>
        </p:nvCxnSpPr>
        <p:spPr>
          <a:xfrm>
            <a:off x="2974042" y="1519345"/>
            <a:ext cx="2434468" cy="0"/>
          </a:xfrm>
          <a:prstGeom prst="line">
            <a:avLst/>
          </a:prstGeom>
          <a:ln w="254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8">
            <a:extLst>
              <a:ext uri="{FF2B5EF4-FFF2-40B4-BE49-F238E27FC236}">
                <a16:creationId xmlns:a16="http://schemas.microsoft.com/office/drawing/2014/main" id="{BB75B49F-1692-8BDF-05B6-858B6A9599B0}"/>
              </a:ext>
            </a:extLst>
          </p:cNvPr>
          <p:cNvSpPr txBox="1"/>
          <p:nvPr/>
        </p:nvSpPr>
        <p:spPr>
          <a:xfrm>
            <a:off x="6072437" y="1349699"/>
            <a:ext cx="2436241" cy="168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68580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>
                <a:solidFill>
                  <a:srgbClr val="00558F"/>
                </a:solidFill>
                <a:latin typeface="Calibri"/>
                <a:cs typeface="+mn-cs"/>
              </a:rPr>
              <a:t># of death neonates per 1,000 live births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F1D4532-0B64-7554-C597-6B9693380AFB}"/>
              </a:ext>
            </a:extLst>
          </p:cNvPr>
          <p:cNvCxnSpPr>
            <a:cxnSpLocks/>
          </p:cNvCxnSpPr>
          <p:nvPr/>
        </p:nvCxnSpPr>
        <p:spPr>
          <a:xfrm>
            <a:off x="6073586" y="1527386"/>
            <a:ext cx="2434468" cy="0"/>
          </a:xfrm>
          <a:prstGeom prst="line">
            <a:avLst/>
          </a:prstGeom>
          <a:ln w="254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10BDEB3D-AA19-F34F-D2C5-A03FF7FC681E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25339184"/>
              </p:ext>
            </p:extLst>
          </p:nvPr>
        </p:nvGraphicFramePr>
        <p:xfrm>
          <a:off x="6072437" y="1614950"/>
          <a:ext cx="2435618" cy="800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0C100CE9-A495-24EC-E86E-48C7C812B9F0}"/>
              </a:ext>
            </a:extLst>
          </p:cNvPr>
          <p:cNvSpPr txBox="1">
            <a:spLocks/>
          </p:cNvSpPr>
          <p:nvPr/>
        </p:nvSpPr>
        <p:spPr>
          <a:xfrm>
            <a:off x="-1" y="4959351"/>
            <a:ext cx="7416837" cy="18414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790">
                <a:solidFill>
                  <a:schemeClr val="accent2"/>
                </a:solidFill>
              </a:rPr>
              <a:t>Source: </a:t>
            </a:r>
            <a:r>
              <a:rPr lang="en-US" sz="790" i="1">
                <a:solidFill>
                  <a:schemeClr val="accent2"/>
                </a:solidFill>
              </a:rPr>
              <a:t>1. </a:t>
            </a:r>
            <a:r>
              <a:rPr lang="en-US" sz="790" i="1">
                <a:solidFill>
                  <a:schemeClr val="accent2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IA Factbook</a:t>
            </a:r>
            <a:r>
              <a:rPr lang="en-US" sz="790" i="1">
                <a:solidFill>
                  <a:schemeClr val="accent2"/>
                </a:solidFill>
              </a:rPr>
              <a:t>, 2.Performance assessment of the county healthcare systems in Kenya: a mixed-methods analysis, BMJ Global Health 2021  </a:t>
            </a:r>
          </a:p>
        </p:txBody>
      </p:sp>
      <p:sp>
        <p:nvSpPr>
          <p:cNvPr id="34" name="Text Placeholder 1">
            <a:extLst>
              <a:ext uri="{FF2B5EF4-FFF2-40B4-BE49-F238E27FC236}">
                <a16:creationId xmlns:a16="http://schemas.microsoft.com/office/drawing/2014/main" id="{47EEF38E-EDE9-A947-B5B8-68AE736228F6}"/>
              </a:ext>
            </a:extLst>
          </p:cNvPr>
          <p:cNvSpPr txBox="1">
            <a:spLocks/>
          </p:cNvSpPr>
          <p:nvPr/>
        </p:nvSpPr>
        <p:spPr bwMode="auto">
          <a:xfrm>
            <a:off x="790899" y="2814687"/>
            <a:ext cx="1809931" cy="17127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vert="horz" wrap="square" lIns="91440" tIns="0" rIns="91440" bIns="4572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b="1">
                <a:solidFill>
                  <a:schemeClr val="bg1"/>
                </a:solidFill>
              </a:rPr>
              <a:t>Challenges to Realize Universal Healthcare</a:t>
            </a:r>
            <a:r>
              <a:rPr lang="en-US" sz="1800" b="1" baseline="30000">
                <a:solidFill>
                  <a:schemeClr val="bg1"/>
                </a:solidFill>
              </a:rPr>
              <a:t>2</a:t>
            </a:r>
            <a:r>
              <a:rPr lang="en-US" sz="1800" b="1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8CC3F88-BB65-6E75-0EB8-6C59348E2CD7}"/>
              </a:ext>
            </a:extLst>
          </p:cNvPr>
          <p:cNvSpPr txBox="1">
            <a:spLocks/>
          </p:cNvSpPr>
          <p:nvPr/>
        </p:nvSpPr>
        <p:spPr>
          <a:xfrm>
            <a:off x="2989174" y="2814687"/>
            <a:ext cx="2419335" cy="170817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400" b="1"/>
              <a:t>Healthcare Quality 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400" b="1"/>
              <a:t>Infrastructure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400" b="1"/>
              <a:t>Data Systems 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400" b="1"/>
              <a:t>Affordability 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400" b="1"/>
              <a:t>Political Instability </a:t>
            </a:r>
          </a:p>
        </p:txBody>
      </p:sp>
      <p:pic>
        <p:nvPicPr>
          <p:cNvPr id="5" name="Picture 4" descr="A picture containing person, older&#10;&#10;Description automatically generated">
            <a:extLst>
              <a:ext uri="{FF2B5EF4-FFF2-40B4-BE49-F238E27FC236}">
                <a16:creationId xmlns:a16="http://schemas.microsoft.com/office/drawing/2014/main" id="{D9AA587F-05D2-DCE2-558F-19BE7B0E11F6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1286" y="2815122"/>
            <a:ext cx="2435618" cy="1708179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24CDA434-9CF5-2206-0513-142DD0DEAC26}"/>
              </a:ext>
            </a:extLst>
          </p:cNvPr>
          <p:cNvGrpSpPr/>
          <p:nvPr/>
        </p:nvGrpSpPr>
        <p:grpSpPr>
          <a:xfrm>
            <a:off x="4148974" y="982047"/>
            <a:ext cx="302174" cy="292335"/>
            <a:chOff x="4147911" y="1006149"/>
            <a:chExt cx="302172" cy="292449"/>
          </a:xfrm>
        </p:grpSpPr>
        <p:sp>
          <p:nvSpPr>
            <p:cNvPr id="16" name="Oval 16">
              <a:extLst>
                <a:ext uri="{FF2B5EF4-FFF2-40B4-BE49-F238E27FC236}">
                  <a16:creationId xmlns:a16="http://schemas.microsoft.com/office/drawing/2014/main" id="{C89C2F6A-ADE5-0F2B-1F28-4D37CD78B7E0}"/>
                </a:ext>
              </a:extLst>
            </p:cNvPr>
            <p:cNvSpPr/>
            <p:nvPr/>
          </p:nvSpPr>
          <p:spPr>
            <a:xfrm>
              <a:off x="4147911" y="1006149"/>
              <a:ext cx="302172" cy="29244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1" name="pto_ico_img_181022145009">
              <a:extLst>
                <a:ext uri="{FF2B5EF4-FFF2-40B4-BE49-F238E27FC236}">
                  <a16:creationId xmlns:a16="http://schemas.microsoft.com/office/drawing/2014/main" id="{6D1C0C88-F582-D8A8-4FCE-B15CF0704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90207" y="1051596"/>
              <a:ext cx="230349" cy="222818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16C9DF6-22F3-2694-EA5B-5319D86049C3}"/>
              </a:ext>
            </a:extLst>
          </p:cNvPr>
          <p:cNvGrpSpPr/>
          <p:nvPr/>
        </p:nvGrpSpPr>
        <p:grpSpPr>
          <a:xfrm>
            <a:off x="7165973" y="982047"/>
            <a:ext cx="302174" cy="292335"/>
            <a:chOff x="7114663" y="973813"/>
            <a:chExt cx="302174" cy="292335"/>
          </a:xfrm>
        </p:grpSpPr>
        <p:sp>
          <p:nvSpPr>
            <p:cNvPr id="21" name="Oval 18">
              <a:extLst>
                <a:ext uri="{FF2B5EF4-FFF2-40B4-BE49-F238E27FC236}">
                  <a16:creationId xmlns:a16="http://schemas.microsoft.com/office/drawing/2014/main" id="{64528DF7-A895-19E0-4813-BE66769418A0}"/>
                </a:ext>
              </a:extLst>
            </p:cNvPr>
            <p:cNvSpPr/>
            <p:nvPr/>
          </p:nvSpPr>
          <p:spPr>
            <a:xfrm>
              <a:off x="7114663" y="973813"/>
              <a:ext cx="302174" cy="29233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2" name="pto_ico_img_181022144957">
              <a:extLst>
                <a:ext uri="{FF2B5EF4-FFF2-40B4-BE49-F238E27FC236}">
                  <a16:creationId xmlns:a16="http://schemas.microsoft.com/office/drawing/2014/main" id="{A4852F84-E81C-E56F-30D3-F538AC957D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31168" y="990844"/>
              <a:ext cx="269163" cy="260399"/>
            </a:xfrm>
            <a:prstGeom prst="rect">
              <a:avLst/>
            </a:prstGeom>
          </p:spPr>
        </p:pic>
      </p:grp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526D7D8-0223-5646-4C7C-1A1A547C27A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734521" y="2407708"/>
            <a:ext cx="5270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FAA26D3D-D897-4be2-8F04-BA451C77F1D7}">
              <ma14:placeholderFlag xmlns="" xmlns:lc="http://schemas.openxmlformats.org/drawingml/2006/lockedCanvas" xmlns:ma14="http://schemas.microsoft.com/office/mac/drawingml/2011/main" val="1"/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20A1F72-A1AA-4CB7-AD35-22AAB080D60F}" type="datetime'''Ta''''n''''''''''''z''a''n''''''i''a'">
              <a:rPr lang="en-US" altLang="en-US" sz="1050" b="1" smtClean="0">
                <a:solidFill>
                  <a:srgbClr val="C00000"/>
                </a:solidFill>
              </a:rPr>
              <a:pPr algn="ctr">
                <a:spcBef>
                  <a:spcPct val="0"/>
                </a:spcBef>
              </a:pPr>
              <a:t>Tanzania</a:t>
            </a:fld>
            <a:endParaRPr lang="en-US" sz="1050" b="1">
              <a:solidFill>
                <a:srgbClr val="C00000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E9AD4C48-BEB1-C44A-FE19-813B1A5C441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256534" y="2407708"/>
            <a:ext cx="3683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FAA26D3D-D897-4be2-8F04-BA451C77F1D7}">
              <ma14:placeholderFlag xmlns="" xmlns:lc="http://schemas.openxmlformats.org/drawingml/2006/lockedCanvas" xmlns:ma14="http://schemas.microsoft.com/office/mac/drawingml/2011/main" val="1"/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EA2D3FF-93F2-430E-8547-907D1A4B2FDA}" type="datetime'''''''''''''K''''e''''''''''''''n''''''ya'''''''''">
              <a:rPr lang="en-US" altLang="en-US" sz="1050" b="1" smtClean="0">
                <a:solidFill>
                  <a:srgbClr val="C00000"/>
                </a:solidFill>
              </a:rPr>
              <a:pPr algn="ctr">
                <a:spcBef>
                  <a:spcPct val="0"/>
                </a:spcBef>
              </a:pPr>
              <a:t>Kenya</a:t>
            </a:fld>
            <a:endParaRPr lang="en-US" sz="1050" b="1">
              <a:solidFill>
                <a:srgbClr val="C00000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2522C168-3020-9493-8893-FB6BE9F8F0A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494616" y="2407708"/>
            <a:ext cx="169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FAA26D3D-D897-4be2-8F04-BA451C77F1D7}">
              <ma14:placeholderFlag xmlns="" xmlns:lc="http://schemas.openxmlformats.org/drawingml/2006/lockedCanvas" xmlns:ma14="http://schemas.microsoft.com/office/mac/drawingml/2011/main" val="1"/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FC7871C-352A-4427-B7C8-29D6EF1C1615}" type="datetime'''''U''''''''''''''''''''''''''''''S'''''">
              <a:rPr lang="en-US" altLang="en-US" sz="1050" b="1" smtClean="0"/>
              <a:pPr algn="ctr">
                <a:spcBef>
                  <a:spcPct val="0"/>
                </a:spcBef>
              </a:pPr>
              <a:t>US</a:t>
            </a:fld>
            <a:endParaRPr lang="en-US" sz="1050" b="1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FEDDC35C-0CA8-525C-7056-427A294AE7F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084571" y="2407708"/>
            <a:ext cx="16351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FAA26D3D-D897-4be2-8F04-BA451C77F1D7}">
              <ma14:placeholderFlag xmlns="" xmlns:lc="http://schemas.openxmlformats.org/drawingml/2006/lockedCanvas" xmlns:ma14="http://schemas.microsoft.com/office/mac/drawingml/2011/main" val="1"/>
            </a:ext>
            <a:ext uri="{909E8E84-426E-40dd-AFC4-6F175D3DCCD1}">
              <a14:hiddenFill xmlns="" xmlns:lc="http://schemas.openxmlformats.org/drawingml/2006/lockedCanvas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lc="http://schemas.openxmlformats.org/drawingml/2006/lockedCanvas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808A644-9AFA-46CE-A2F9-75357AC96E1E}" type="datetime'''''''''''''''''''''''''''''''''N''L'''''''''">
              <a:rPr lang="en-US" altLang="en-US" sz="1050" b="1" smtClean="0"/>
              <a:pPr algn="ctr">
                <a:spcBef>
                  <a:spcPct val="0"/>
                </a:spcBef>
              </a:pPr>
              <a:t>NL</a:t>
            </a:fld>
            <a:endParaRPr lang="en-US" sz="1050" b="1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BC465C78-9413-B9DF-AD0A-CCB6C24824A0}"/>
              </a:ext>
            </a:extLst>
          </p:cNvPr>
          <p:cNvSpPr txBox="1">
            <a:spLocks/>
          </p:cNvSpPr>
          <p:nvPr/>
        </p:nvSpPr>
        <p:spPr>
          <a:xfrm>
            <a:off x="8601076" y="4791075"/>
            <a:ext cx="431010" cy="25542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algn="r" defTabSz="188856">
              <a:defRPr sz="1000" b="1"/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fld id="{9C24207B-2825-1344-BA70-0110A4EF1B0C}" type="slidenum">
              <a:rPr lang="en-GB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321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62CBC75-2FD5-D51F-546F-376ABF65A4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841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62CBC75-2FD5-D51F-546F-376ABF65A4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44C6BAC-9C32-0C97-224B-2E0EA4B59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>
                <a:latin typeface="+mn-lt"/>
              </a:rPr>
              <a:t>In (maternity) care in LMICs, there are several behavioral, organizational, and financial barriers affecting both women and healthcare providers </a:t>
            </a:r>
          </a:p>
        </p:txBody>
      </p:sp>
      <p:graphicFrame>
        <p:nvGraphicFramePr>
          <p:cNvPr id="31" name="Table 18">
            <a:extLst>
              <a:ext uri="{FF2B5EF4-FFF2-40B4-BE49-F238E27FC236}">
                <a16:creationId xmlns:a16="http://schemas.microsoft.com/office/drawing/2014/main" id="{2DCB578D-6ED3-360B-BE93-185CCB41C6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7980872"/>
              </p:ext>
            </p:extLst>
          </p:nvPr>
        </p:nvGraphicFramePr>
        <p:xfrm>
          <a:off x="80986" y="810645"/>
          <a:ext cx="7128000" cy="41040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000">
                  <a:extLst>
                    <a:ext uri="{9D8B030D-6E8A-4147-A177-3AD203B41FA5}">
                      <a16:colId xmlns:a16="http://schemas.microsoft.com/office/drawing/2014/main" val="854423191"/>
                    </a:ext>
                  </a:extLst>
                </a:gridCol>
                <a:gridCol w="2916000">
                  <a:extLst>
                    <a:ext uri="{9D8B030D-6E8A-4147-A177-3AD203B41FA5}">
                      <a16:colId xmlns:a16="http://schemas.microsoft.com/office/drawing/2014/main" val="878174395"/>
                    </a:ext>
                  </a:extLst>
                </a:gridCol>
                <a:gridCol w="2916000">
                  <a:extLst>
                    <a:ext uri="{9D8B030D-6E8A-4147-A177-3AD203B41FA5}">
                      <a16:colId xmlns:a16="http://schemas.microsoft.com/office/drawing/2014/main" val="38853282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b="1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arriers</a:t>
                      </a:r>
                    </a:p>
                  </a:txBody>
                  <a:tcPr marT="108000" marB="108000" anchor="b">
                    <a:lnB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</a:rPr>
                        <a:t>Women</a:t>
                      </a:r>
                    </a:p>
                  </a:txBody>
                  <a:tcPr marT="108000" marB="108000" anchor="b">
                    <a:lnB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</a:rPr>
                        <a:t>Healthcare providers</a:t>
                      </a:r>
                    </a:p>
                  </a:txBody>
                  <a:tcPr marT="108000" marB="108000" anchor="b">
                    <a:lnB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2542066"/>
                  </a:ext>
                </a:extLst>
              </a:tr>
              <a:tr h="1176900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accent1"/>
                          </a:solidFill>
                        </a:rPr>
                        <a:t>Behavioral</a:t>
                      </a:r>
                    </a:p>
                  </a:txBody>
                  <a:tcPr marT="108000" marB="108000" anchor="ctr"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DF7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w education and awareness levels</a:t>
                      </a:r>
                    </a:p>
                    <a:p>
                      <a:pPr marL="92075" marR="0" lvl="0" indent="-920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te start of the pregnancy journey</a:t>
                      </a:r>
                    </a:p>
                    <a:p>
                      <a:pPr marL="92075" marR="0" lvl="0" indent="-920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ary of stigma and taboo</a:t>
                      </a:r>
                    </a:p>
                    <a:p>
                      <a:pPr marL="92075" marR="0" lvl="0" indent="-920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’t feel empowered</a:t>
                      </a:r>
                    </a:p>
                  </a:txBody>
                  <a:tcPr marL="72000" marR="36000" marT="108000" marB="10800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DF7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mited knowledge on mental health issues</a:t>
                      </a:r>
                    </a:p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verburdened staff</a:t>
                      </a:r>
                    </a:p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i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titude</a:t>
                      </a:r>
                    </a:p>
                  </a:txBody>
                  <a:tcPr marL="72000" marR="36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DF7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270218"/>
                  </a:ext>
                </a:extLst>
              </a:tr>
              <a:tr h="1176900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accent1"/>
                          </a:solidFill>
                        </a:rPr>
                        <a:t>Organizational</a:t>
                      </a:r>
                    </a:p>
                  </a:txBody>
                  <a:tcPr marT="108000" marB="108000" anchor="ctr"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DF7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fficult to navigate fragmented </a:t>
                      </a:r>
                      <a:b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althcare system</a:t>
                      </a:r>
                    </a:p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rd to reach a clinic</a:t>
                      </a:r>
                    </a:p>
                  </a:txBody>
                  <a:tcPr marL="72000" marR="36000" marT="108000" marB="10800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DF7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w perceived quality</a:t>
                      </a:r>
                    </a:p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equent stock-outs</a:t>
                      </a:r>
                    </a:p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roken or missing equipment</a:t>
                      </a:r>
                    </a:p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igh staff turnover &amp; staff shortage</a:t>
                      </a:r>
                    </a:p>
                    <a:p>
                      <a:pPr marL="92075" marR="0" lvl="0" indent="-920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mited digitization and digital skills</a:t>
                      </a:r>
                    </a:p>
                  </a:txBody>
                  <a:tcPr marL="72000" marR="36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DF7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94435"/>
                  </a:ext>
                </a:extLst>
              </a:tr>
              <a:tr h="1176900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accent1"/>
                          </a:solidFill>
                        </a:rPr>
                        <a:t>Financial</a:t>
                      </a:r>
                    </a:p>
                  </a:txBody>
                  <a:tcPr marT="108000" marB="108000" anchor="ctr"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DF7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igh opportunity cost</a:t>
                      </a:r>
                    </a:p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igh risk of catastrophic expenditure</a:t>
                      </a:r>
                    </a:p>
                  </a:txBody>
                  <a:tcPr marL="72000" marR="36000" marT="108000" marB="108000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DF7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te and insufficient payments by insurers and the government</a:t>
                      </a:r>
                    </a:p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ry limited transparency</a:t>
                      </a:r>
                    </a:p>
                    <a:p>
                      <a:pPr marL="92075" indent="-92075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050" b="1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DF7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8739294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982C4BE1-2A40-CAF1-3719-E1BF7C7EAF76}"/>
              </a:ext>
            </a:extLst>
          </p:cNvPr>
          <p:cNvGrpSpPr/>
          <p:nvPr/>
        </p:nvGrpSpPr>
        <p:grpSpPr>
          <a:xfrm>
            <a:off x="2156400" y="862428"/>
            <a:ext cx="302174" cy="292335"/>
            <a:chOff x="4147911" y="1006149"/>
            <a:chExt cx="302172" cy="292449"/>
          </a:xfrm>
        </p:grpSpPr>
        <p:sp>
          <p:nvSpPr>
            <p:cNvPr id="4" name="Oval 16">
              <a:extLst>
                <a:ext uri="{FF2B5EF4-FFF2-40B4-BE49-F238E27FC236}">
                  <a16:creationId xmlns:a16="http://schemas.microsoft.com/office/drawing/2014/main" id="{1F9DD780-D99E-1C19-D9A9-E00B7295E9C2}"/>
                </a:ext>
              </a:extLst>
            </p:cNvPr>
            <p:cNvSpPr/>
            <p:nvPr/>
          </p:nvSpPr>
          <p:spPr>
            <a:xfrm>
              <a:off x="4147911" y="1006149"/>
              <a:ext cx="302172" cy="29244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6" name="pto_ico_img_181022145009">
              <a:extLst>
                <a:ext uri="{FF2B5EF4-FFF2-40B4-BE49-F238E27FC236}">
                  <a16:creationId xmlns:a16="http://schemas.microsoft.com/office/drawing/2014/main" id="{905CEADF-4DC6-BD20-5110-308EFDDCD1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90207" y="1051596"/>
              <a:ext cx="230349" cy="222818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5BAC74-7F69-0843-E1DB-98718FD69D7C}"/>
              </a:ext>
            </a:extLst>
          </p:cNvPr>
          <p:cNvGrpSpPr/>
          <p:nvPr/>
        </p:nvGrpSpPr>
        <p:grpSpPr>
          <a:xfrm>
            <a:off x="4380985" y="862428"/>
            <a:ext cx="302174" cy="292335"/>
            <a:chOff x="4831361" y="1176329"/>
            <a:chExt cx="302174" cy="292335"/>
          </a:xfrm>
        </p:grpSpPr>
        <p:sp>
          <p:nvSpPr>
            <p:cNvPr id="8" name="Oval 16">
              <a:extLst>
                <a:ext uri="{FF2B5EF4-FFF2-40B4-BE49-F238E27FC236}">
                  <a16:creationId xmlns:a16="http://schemas.microsoft.com/office/drawing/2014/main" id="{9E52DDBE-EC1A-554A-DFE9-972F13F9FBC5}"/>
                </a:ext>
              </a:extLst>
            </p:cNvPr>
            <p:cNvSpPr/>
            <p:nvPr/>
          </p:nvSpPr>
          <p:spPr>
            <a:xfrm>
              <a:off x="4831361" y="1176329"/>
              <a:ext cx="302174" cy="29233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2" name="Graphic 31" descr="Stethoscope outline">
              <a:extLst>
                <a:ext uri="{FF2B5EF4-FFF2-40B4-BE49-F238E27FC236}">
                  <a16:creationId xmlns:a16="http://schemas.microsoft.com/office/drawing/2014/main" id="{3E0B5216-B456-0D6D-3B04-B9FEC0C8D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67272" y="1211130"/>
              <a:ext cx="230351" cy="222731"/>
            </a:xfrm>
            <a:prstGeom prst="rect">
              <a:avLst/>
            </a:prstGeom>
          </p:spPr>
        </p:pic>
      </p:grp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803F44EB-506A-6D1F-CF1F-33EDBDDA1C64}"/>
              </a:ext>
            </a:extLst>
          </p:cNvPr>
          <p:cNvSpPr txBox="1">
            <a:spLocks/>
          </p:cNvSpPr>
          <p:nvPr/>
        </p:nvSpPr>
        <p:spPr>
          <a:xfrm>
            <a:off x="8601076" y="4791075"/>
            <a:ext cx="431010" cy="25542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algn="r" defTabSz="188856">
              <a:defRPr sz="1000" b="1"/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fld id="{9C24207B-2825-1344-BA70-0110A4EF1B0C}" type="slidenum">
              <a:rPr lang="en-GB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4106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DE840A-9703-4F5B-8DE4-A019BB6A47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40" imgH="442" progId="TCLayout.ActiveDocument.1">
                  <p:embed/>
                </p:oleObj>
              </mc:Choice>
              <mc:Fallback>
                <p:oleObj name="think-cell Slide" r:id="rId5" imgW="440" imgH="44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DE840A-9703-4F5B-8DE4-A019BB6A47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>
            <a:extLst>
              <a:ext uri="{FF2B5EF4-FFF2-40B4-BE49-F238E27FC236}">
                <a16:creationId xmlns:a16="http://schemas.microsoft.com/office/drawing/2014/main" id="{63597765-DDDD-4951-BA9A-BECB4D09305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143001" y="1"/>
            <a:ext cx="119063" cy="119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7566568-3AAC-4DC7-9640-086AC6D2325E}"/>
              </a:ext>
            </a:extLst>
          </p:cNvPr>
          <p:cNvSpPr txBox="1"/>
          <p:nvPr/>
        </p:nvSpPr>
        <p:spPr>
          <a:xfrm>
            <a:off x="592111" y="4788833"/>
            <a:ext cx="766708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b="1"/>
              <a:t> </a:t>
            </a:r>
            <a:endParaRPr lang="en-US" sz="700"/>
          </a:p>
        </p:txBody>
      </p:sp>
      <p:sp>
        <p:nvSpPr>
          <p:cNvPr id="65" name="Slide Number Placeholder 64">
            <a:extLst>
              <a:ext uri="{FF2B5EF4-FFF2-40B4-BE49-F238E27FC236}">
                <a16:creationId xmlns:a16="http://schemas.microsoft.com/office/drawing/2014/main" id="{FB16C7F1-4A98-7DC8-9990-EFE489684F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88856"/>
            <a:fld id="{9C24207B-2825-1344-BA70-0110A4EF1B0C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88856"/>
              <a:t>5</a:t>
            </a:fld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277F57FE-5056-6A3D-DEA4-10A1900A1F06}"/>
              </a:ext>
            </a:extLst>
          </p:cNvPr>
          <p:cNvSpPr txBox="1">
            <a:spLocks/>
          </p:cNvSpPr>
          <p:nvPr/>
        </p:nvSpPr>
        <p:spPr>
          <a:xfrm>
            <a:off x="7389977" y="173556"/>
            <a:ext cx="1620000" cy="180000"/>
          </a:xfrm>
          <a:prstGeom prst="rect">
            <a:avLst/>
          </a:prstGeom>
          <a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rtlCol="0" anchor="ctr" anchorCtr="1">
            <a:normAutofit fontScale="25000" lnSpcReduction="20000"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20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5720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28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91440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2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37160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20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None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7B23FB-3F18-CE79-6D17-1D134087CCB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215" y="123472"/>
            <a:ext cx="9147215" cy="4896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3394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DE840A-9703-4F5B-8DE4-A019BB6A47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40" imgH="442" progId="TCLayout.ActiveDocument.1">
                  <p:embed/>
                </p:oleObj>
              </mc:Choice>
              <mc:Fallback>
                <p:oleObj name="think-cell Slide" r:id="rId5" imgW="440" imgH="44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DE840A-9703-4F5B-8DE4-A019BB6A47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>
            <a:extLst>
              <a:ext uri="{FF2B5EF4-FFF2-40B4-BE49-F238E27FC236}">
                <a16:creationId xmlns:a16="http://schemas.microsoft.com/office/drawing/2014/main" id="{63597765-DDDD-4951-BA9A-BECB4D09305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143001" y="1"/>
            <a:ext cx="119063" cy="119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7566568-3AAC-4DC7-9640-086AC6D2325E}"/>
              </a:ext>
            </a:extLst>
          </p:cNvPr>
          <p:cNvSpPr txBox="1"/>
          <p:nvPr/>
        </p:nvSpPr>
        <p:spPr>
          <a:xfrm>
            <a:off x="592111" y="4788833"/>
            <a:ext cx="766708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b="1"/>
              <a:t> </a:t>
            </a:r>
            <a:endParaRPr lang="en-US" sz="700"/>
          </a:p>
        </p:txBody>
      </p:sp>
      <p:sp>
        <p:nvSpPr>
          <p:cNvPr id="65" name="Slide Number Placeholder 64">
            <a:extLst>
              <a:ext uri="{FF2B5EF4-FFF2-40B4-BE49-F238E27FC236}">
                <a16:creationId xmlns:a16="http://schemas.microsoft.com/office/drawing/2014/main" id="{FB16C7F1-4A98-7DC8-9990-EFE489684F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88856"/>
            <a:fld id="{9C24207B-2825-1344-BA70-0110A4EF1B0C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88856"/>
              <a:t>6</a:t>
            </a:fld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277F57FE-5056-6A3D-DEA4-10A1900A1F06}"/>
              </a:ext>
            </a:extLst>
          </p:cNvPr>
          <p:cNvSpPr txBox="1">
            <a:spLocks/>
          </p:cNvSpPr>
          <p:nvPr/>
        </p:nvSpPr>
        <p:spPr>
          <a:xfrm>
            <a:off x="7389977" y="173556"/>
            <a:ext cx="1620000" cy="180000"/>
          </a:xfrm>
          <a:prstGeom prst="rect">
            <a:avLst/>
          </a:prstGeom>
          <a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rtlCol="0" anchor="ctr" anchorCtr="1">
            <a:normAutofit fontScale="25000" lnSpcReduction="20000"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20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5720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28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91440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2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37160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20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None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7B23FB-3F18-CE79-6D17-1D134087CCB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215" y="123472"/>
            <a:ext cx="9147215" cy="4896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043F36B-CC99-64C0-362B-C03B38BBD639}"/>
              </a:ext>
            </a:extLst>
          </p:cNvPr>
          <p:cNvSpPr txBox="1"/>
          <p:nvPr/>
        </p:nvSpPr>
        <p:spPr>
          <a:xfrm>
            <a:off x="-3215" y="519764"/>
            <a:ext cx="9147215" cy="4158114"/>
          </a:xfrm>
          <a:prstGeom prst="rect">
            <a:avLst/>
          </a:prstGeom>
          <a:solidFill>
            <a:srgbClr val="FFFFFF">
              <a:alpha val="85098"/>
            </a:srgbClr>
          </a:solidFill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endParaRPr lang="en-US" sz="16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1DFD58-A250-FDCA-7072-068E714FB14A}"/>
              </a:ext>
            </a:extLst>
          </p:cNvPr>
          <p:cNvSpPr txBox="1"/>
          <p:nvPr/>
        </p:nvSpPr>
        <p:spPr>
          <a:xfrm>
            <a:off x="259882" y="1001027"/>
            <a:ext cx="8547234" cy="3311997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0" indent="0" algn="ctr">
              <a:buNone/>
            </a:pPr>
            <a:r>
              <a:rPr lang="en-US" sz="20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 better outcomes</a:t>
            </a:r>
          </a:p>
          <a:p>
            <a:pPr marL="0" indent="0" algn="ctr">
              <a:buNone/>
            </a:pPr>
            <a:endParaRPr lang="en-US" sz="16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</a:t>
            </a:r>
          </a:p>
          <a:p>
            <a:pPr marL="0" indent="0" algn="ctr">
              <a:buNone/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US" sz="20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er financing, improved measurement and patient-centered care delivery</a:t>
            </a:r>
          </a:p>
          <a:p>
            <a:pPr marL="0" indent="0" algn="ctr">
              <a:buNone/>
            </a:pPr>
            <a:endParaRPr lang="en-US" sz="16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</a:p>
          <a:p>
            <a:pPr marL="0" indent="0" algn="ctr">
              <a:buNone/>
            </a:pPr>
            <a:endParaRPr lang="en-US" sz="20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US" sz="20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nstrating how digitization and connectivity can do for healthcare what is has done for the consumer market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7816409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C41E1EC-D6B0-FCA7-58A8-1929A0BB19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275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C41E1EC-D6B0-FCA7-58A8-1929A0BB1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EDF069F-7462-957B-A6F2-8A83C1C55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1176" y="905182"/>
            <a:ext cx="7221648" cy="3333136"/>
          </a:xfrm>
        </p:spPr>
        <p:txBody>
          <a:bodyPr vert="horz"/>
          <a:lstStyle/>
          <a:p>
            <a:pPr algn="ctr"/>
            <a:r>
              <a:rPr lang="en-US" sz="2400" err="1"/>
              <a:t>MomCare</a:t>
            </a:r>
            <a:r>
              <a:rPr lang="en-US" sz="2400"/>
              <a:t> Overview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0576E1-9E0F-CC43-3572-7B3D2EED59E4}"/>
              </a:ext>
            </a:extLst>
          </p:cNvPr>
          <p:cNvSpPr/>
          <p:nvPr/>
        </p:nvSpPr>
        <p:spPr>
          <a:xfrm>
            <a:off x="2036278" y="2522220"/>
            <a:ext cx="5319744" cy="4428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algn="ctr"/>
            <a:r>
              <a:rPr lang="en-US" sz="2000">
                <a:solidFill>
                  <a:srgbClr val="00558F"/>
                </a:solidFill>
                <a:cs typeface="Calibri"/>
              </a:rPr>
              <a:t>Components | Results</a:t>
            </a:r>
            <a:endParaRPr lang="en-US" sz="2000">
              <a:solidFill>
                <a:srgbClr val="00558F"/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381B1078-AB00-EA82-5B4B-E2812DDA9A04}"/>
              </a:ext>
            </a:extLst>
          </p:cNvPr>
          <p:cNvSpPr txBox="1">
            <a:spLocks/>
          </p:cNvSpPr>
          <p:nvPr/>
        </p:nvSpPr>
        <p:spPr>
          <a:xfrm>
            <a:off x="8601076" y="4791075"/>
            <a:ext cx="431010" cy="25542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algn="r" defTabSz="188856">
              <a:defRPr sz="1000" b="1"/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fld id="{9C24207B-2825-1344-BA70-0110A4EF1B0C}" type="slidenum">
              <a:rPr lang="en-GB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12913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8A008A13-F04D-17FF-B982-64202F058A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9732043"/>
              </p:ext>
            </p:extLst>
          </p:nvPr>
        </p:nvGraphicFramePr>
        <p:xfrm>
          <a:off x="-238975" y="3042967"/>
          <a:ext cx="8796117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83796">
                  <a:extLst>
                    <a:ext uri="{9D8B030D-6E8A-4147-A177-3AD203B41FA5}">
                      <a16:colId xmlns:a16="http://schemas.microsoft.com/office/drawing/2014/main" val="2407541000"/>
                    </a:ext>
                  </a:extLst>
                </a:gridCol>
                <a:gridCol w="1321303">
                  <a:extLst>
                    <a:ext uri="{9D8B030D-6E8A-4147-A177-3AD203B41FA5}">
                      <a16:colId xmlns:a16="http://schemas.microsoft.com/office/drawing/2014/main" val="721286549"/>
                    </a:ext>
                  </a:extLst>
                </a:gridCol>
                <a:gridCol w="1697006">
                  <a:extLst>
                    <a:ext uri="{9D8B030D-6E8A-4147-A177-3AD203B41FA5}">
                      <a16:colId xmlns:a16="http://schemas.microsoft.com/office/drawing/2014/main" val="4051519925"/>
                    </a:ext>
                  </a:extLst>
                </a:gridCol>
                <a:gridCol w="1697006">
                  <a:extLst>
                    <a:ext uri="{9D8B030D-6E8A-4147-A177-3AD203B41FA5}">
                      <a16:colId xmlns:a16="http://schemas.microsoft.com/office/drawing/2014/main" val="4172011468"/>
                    </a:ext>
                  </a:extLst>
                </a:gridCol>
                <a:gridCol w="1697006">
                  <a:extLst>
                    <a:ext uri="{9D8B030D-6E8A-4147-A177-3AD203B41FA5}">
                      <a16:colId xmlns:a16="http://schemas.microsoft.com/office/drawing/2014/main" val="1076862974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L" sz="1200" b="1">
                          <a:solidFill>
                            <a:srgbClr val="000000"/>
                          </a:solidFill>
                        </a:rPr>
                        <a:t>KENYA </a:t>
                      </a:r>
                      <a:r>
                        <a:rPr lang="en-US" sz="1200" b="1">
                          <a:solidFill>
                            <a:srgbClr val="000000"/>
                          </a:solidFill>
                        </a:rPr>
                        <a:t>- </a:t>
                      </a:r>
                      <a:r>
                        <a:rPr lang="en-NL" sz="1200" b="1">
                          <a:solidFill>
                            <a:srgbClr val="000000"/>
                          </a:solidFill>
                        </a:rPr>
                        <a:t>Kisumu</a:t>
                      </a: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rgbClr val="000000"/>
                          </a:solidFill>
                        </a:rPr>
                        <a:t>KENYA - Nairobi</a:t>
                      </a: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rgbClr val="000000"/>
                          </a:solidFill>
                        </a:rPr>
                        <a:t>TANZANIA - </a:t>
                      </a:r>
                      <a:r>
                        <a:rPr lang="en-US" sz="1200" b="1" err="1">
                          <a:solidFill>
                            <a:srgbClr val="000000"/>
                          </a:solidFill>
                        </a:rPr>
                        <a:t>Manyara</a:t>
                      </a:r>
                      <a:endParaRPr lang="en-US" sz="1200" b="1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6487205"/>
                  </a:ext>
                </a:extLst>
              </a:tr>
            </a:tbl>
          </a:graphicData>
        </a:graphic>
      </p:graphicFrame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C2BCA6-A53C-9ED0-7E9F-E3E66CB947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C2BCA6-A53C-9ED0-7E9F-E3E66CB94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B8130E01-3D50-05C5-7266-7606437B1FF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592"/>
          <a:stretch/>
        </p:blipFill>
        <p:spPr>
          <a:xfrm>
            <a:off x="2337333" y="1770750"/>
            <a:ext cx="4473830" cy="111554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701C8FB-684D-7381-D3E3-748E86516C6F}"/>
              </a:ext>
            </a:extLst>
          </p:cNvPr>
          <p:cNvSpPr txBox="1"/>
          <p:nvPr/>
        </p:nvSpPr>
        <p:spPr>
          <a:xfrm>
            <a:off x="2332484" y="3473076"/>
            <a:ext cx="2733675" cy="548420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>
                <a:solidFill>
                  <a:srgbClr val="000000"/>
                </a:solidFill>
              </a:rPr>
              <a:t>&gt; 28 K journeys 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200">
                <a:solidFill>
                  <a:srgbClr val="000000"/>
                </a:solidFill>
              </a:rPr>
              <a:t>since 2017</a:t>
            </a: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EFFAAD-2076-9F4E-53D0-2B4B8F538ECE}"/>
              </a:ext>
            </a:extLst>
          </p:cNvPr>
          <p:cNvSpPr txBox="1"/>
          <p:nvPr/>
        </p:nvSpPr>
        <p:spPr>
          <a:xfrm>
            <a:off x="5302665" y="3473076"/>
            <a:ext cx="2733675" cy="548420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>
                <a:solidFill>
                  <a:srgbClr val="000000"/>
                </a:solidFill>
              </a:rPr>
              <a:t>&gt; 28 K journeys 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200">
                <a:solidFill>
                  <a:srgbClr val="000000"/>
                </a:solidFill>
              </a:rPr>
              <a:t>since 2019</a:t>
            </a: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D069AD40-5021-BCB7-15B9-CB007E185847}"/>
              </a:ext>
            </a:extLst>
          </p:cNvPr>
          <p:cNvSpPr txBox="1">
            <a:spLocks/>
          </p:cNvSpPr>
          <p:nvPr/>
        </p:nvSpPr>
        <p:spPr bwMode="auto">
          <a:xfrm>
            <a:off x="0" y="111063"/>
            <a:ext cx="7201647" cy="561600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</a:ln>
          <a:extLst>
            <a:ext uri="{909E8E84-426E-40dd-AFC4-6F175D3DCCD1}">
              <a14:hiddenFill xmlns="" xmlns:mc="http://schemas.openxmlformats.org/markup-compatibility/2006" xmlns:mv="urn:schemas-microsoft-com:mac:vml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mc="http://schemas.openxmlformats.org/markup-compatibility/2006" xmlns:mv="urn:schemas-microsoft-com:mac:vml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c="http://schemas.openxmlformats.org/markup-compatibility/2006" xmlns:mv="urn:schemas-microsoft-com:mac:vml" xmlns:ma14="http://schemas.microsoft.com/office/mac/drawingml/2011/main" val="1"/>
            </a:ext>
          </a:extLst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600" b="0" i="0" kern="1200" baseline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err="1"/>
              <a:t>MomCare</a:t>
            </a:r>
            <a:r>
              <a:rPr lang="en-US" sz="1400"/>
              <a:t> iteratively improves financing and care delivery across regions based on the priorities of the local healthcare ecosystem and needs of the stakeholde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CD4030D-E3D9-7E18-9700-6D26ED226E54}"/>
              </a:ext>
            </a:extLst>
          </p:cNvPr>
          <p:cNvCxnSpPr/>
          <p:nvPr/>
        </p:nvCxnSpPr>
        <p:spPr>
          <a:xfrm>
            <a:off x="5066159" y="1450615"/>
            <a:ext cx="0" cy="1824395"/>
          </a:xfrm>
          <a:prstGeom prst="line">
            <a:avLst/>
          </a:prstGeom>
          <a:ln w="1905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D22D85C-BF59-B3EF-0AAF-8D16F0A2C43E}"/>
              </a:ext>
            </a:extLst>
          </p:cNvPr>
          <p:cNvCxnSpPr>
            <a:cxnSpLocks/>
          </p:cNvCxnSpPr>
          <p:nvPr/>
        </p:nvCxnSpPr>
        <p:spPr>
          <a:xfrm flipH="1">
            <a:off x="2233919" y="3425243"/>
            <a:ext cx="4676161" cy="0"/>
          </a:xfrm>
          <a:prstGeom prst="line">
            <a:avLst/>
          </a:prstGeom>
          <a:ln w="1905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506" name="Picture 2" descr="MSD for Mothers">
            <a:extLst>
              <a:ext uri="{FF2B5EF4-FFF2-40B4-BE49-F238E27FC236}">
                <a16:creationId xmlns:a16="http://schemas.microsoft.com/office/drawing/2014/main" id="{C77F7532-C354-9693-6017-6512FA6876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57" y="4479314"/>
            <a:ext cx="1667149" cy="583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" name="Picture 4" descr="CIFF: Children's Investment Fund Foundation">
            <a:extLst>
              <a:ext uri="{FF2B5EF4-FFF2-40B4-BE49-F238E27FC236}">
                <a16:creationId xmlns:a16="http://schemas.microsoft.com/office/drawing/2014/main" id="{4E7C4FCA-E1A0-EC7C-C974-912347ED2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22697" y="4578300"/>
            <a:ext cx="1608712" cy="385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0" name="Picture 6" descr="The ELMA Foundation — ELMA Philanthropies">
            <a:extLst>
              <a:ext uri="{FF2B5EF4-FFF2-40B4-BE49-F238E27FC236}">
                <a16:creationId xmlns:a16="http://schemas.microsoft.com/office/drawing/2014/main" id="{F3CD5BB7-9964-512B-9190-2918C7FEEC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98100" y="4391269"/>
            <a:ext cx="1139390" cy="759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2" name="Picture 8">
            <a:extLst>
              <a:ext uri="{FF2B5EF4-FFF2-40B4-BE49-F238E27FC236}">
                <a16:creationId xmlns:a16="http://schemas.microsoft.com/office/drawing/2014/main" id="{484CAEDB-98AC-A950-CCB0-B2D4D6DF8C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7994" y="4483786"/>
            <a:ext cx="1635107" cy="574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4" name="Picture 10" descr="Inzet AdStreet voor de Nationale Postcode Loterij - Mediahuis">
            <a:extLst>
              <a:ext uri="{FF2B5EF4-FFF2-40B4-BE49-F238E27FC236}">
                <a16:creationId xmlns:a16="http://schemas.microsoft.com/office/drawing/2014/main" id="{30D6F796-391E-EAB7-3CEB-8411D9A25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4181" y="4403253"/>
            <a:ext cx="1417124" cy="73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A23DD60-2B25-3FE4-B9D8-640B0F94042D}"/>
              </a:ext>
            </a:extLst>
          </p:cNvPr>
          <p:cNvCxnSpPr/>
          <p:nvPr/>
        </p:nvCxnSpPr>
        <p:spPr>
          <a:xfrm>
            <a:off x="200297" y="4258491"/>
            <a:ext cx="8560526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53FEB9C9-F309-C2BD-EF87-069FA8F9909E}"/>
              </a:ext>
            </a:extLst>
          </p:cNvPr>
          <p:cNvSpPr txBox="1"/>
          <p:nvPr/>
        </p:nvSpPr>
        <p:spPr>
          <a:xfrm>
            <a:off x="269966" y="992777"/>
            <a:ext cx="1963950" cy="2622834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 dirty="0">
                <a:solidFill>
                  <a:srgbClr val="000000"/>
                </a:solidFill>
              </a:rPr>
              <a:t>Kenya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endParaRPr lang="en-US" sz="1600" b="1" dirty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rgbClr val="000000"/>
                </a:solidFill>
                <a:effectLst/>
                <a:latin typeface="+mn-lt"/>
              </a:rPr>
              <a:t>53M </a:t>
            </a:r>
            <a:r>
              <a:rPr lang="en-GB" sz="1000" dirty="0">
                <a:solidFill>
                  <a:srgbClr val="000000"/>
                </a:solidFill>
                <a:effectLst/>
                <a:latin typeface="+mn-lt"/>
              </a:rPr>
              <a:t>popula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rgbClr val="000000"/>
                </a:solidFill>
                <a:effectLst/>
                <a:latin typeface="+mn-lt"/>
              </a:rPr>
              <a:t>39% </a:t>
            </a:r>
            <a:r>
              <a:rPr lang="en-GB" sz="1000" dirty="0">
                <a:solidFill>
                  <a:srgbClr val="000000"/>
                </a:solidFill>
                <a:effectLst/>
                <a:latin typeface="+mn-lt"/>
              </a:rPr>
              <a:t>of</a:t>
            </a:r>
            <a:r>
              <a:rPr lang="en-GB" sz="1000" b="1" dirty="0">
                <a:solidFill>
                  <a:srgbClr val="000000"/>
                </a:solidFill>
                <a:effectLst/>
                <a:latin typeface="+mn-lt"/>
              </a:rPr>
              <a:t> </a:t>
            </a:r>
            <a:r>
              <a:rPr lang="en-GB" sz="1000" dirty="0">
                <a:solidFill>
                  <a:srgbClr val="000000"/>
                </a:solidFill>
                <a:effectLst/>
                <a:latin typeface="+mn-lt"/>
              </a:rPr>
              <a:t>population &lt; 1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rgbClr val="000000"/>
                </a:solidFill>
                <a:latin typeface="+mn-lt"/>
              </a:rPr>
              <a:t>29%</a:t>
            </a:r>
            <a:r>
              <a:rPr lang="en-GB" sz="1000" dirty="0">
                <a:solidFill>
                  <a:srgbClr val="000000"/>
                </a:solidFill>
                <a:latin typeface="+mn-lt"/>
              </a:rPr>
              <a:t> &lt; poverty lin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rgbClr val="000000"/>
                </a:solidFill>
                <a:latin typeface="+mn-lt"/>
              </a:rPr>
              <a:t>65</a:t>
            </a:r>
            <a:r>
              <a:rPr lang="en-GB" sz="1000" dirty="0">
                <a:solidFill>
                  <a:srgbClr val="000000"/>
                </a:solidFill>
                <a:latin typeface="+mn-lt"/>
              </a:rPr>
              <a:t> live births / 1000 teenagers</a:t>
            </a:r>
            <a:endParaRPr lang="en-GB" sz="1000" b="1" dirty="0">
              <a:solidFill>
                <a:srgbClr val="000000"/>
              </a:solidFill>
              <a:effectLst/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rgbClr val="000000"/>
                </a:solidFill>
                <a:effectLst/>
                <a:latin typeface="+mn-lt"/>
              </a:rPr>
              <a:t>75% </a:t>
            </a:r>
            <a:r>
              <a:rPr lang="en-GB" sz="1000" dirty="0">
                <a:solidFill>
                  <a:srgbClr val="000000"/>
                </a:solidFill>
                <a:latin typeface="+mn-lt"/>
              </a:rPr>
              <a:t>i</a:t>
            </a:r>
            <a:r>
              <a:rPr lang="en-GB" sz="1000" dirty="0">
                <a:solidFill>
                  <a:srgbClr val="000000"/>
                </a:solidFill>
                <a:effectLst/>
                <a:latin typeface="+mn-lt"/>
              </a:rPr>
              <a:t>nternet penetration 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0000"/>
                </a:solidFill>
                <a:latin typeface="+mn-lt"/>
              </a:rPr>
              <a:t>20% </a:t>
            </a:r>
            <a:r>
              <a:rPr lang="en-US" sz="1000" dirty="0">
                <a:solidFill>
                  <a:srgbClr val="000000"/>
                </a:solidFill>
                <a:latin typeface="+mn-lt"/>
              </a:rPr>
              <a:t>is insured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+mn-lt"/>
              </a:rPr>
              <a:t>Government committed to UHC and willing to work with private sector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8DC18D2-908F-B2F2-80FD-593A4B61DEE3}"/>
              </a:ext>
            </a:extLst>
          </p:cNvPr>
          <p:cNvSpPr txBox="1"/>
          <p:nvPr/>
        </p:nvSpPr>
        <p:spPr>
          <a:xfrm>
            <a:off x="7021305" y="992776"/>
            <a:ext cx="2044776" cy="2829044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 b="1" dirty="0">
                <a:solidFill>
                  <a:srgbClr val="000000"/>
                </a:solidFill>
              </a:rPr>
              <a:t>Tanzania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rgbClr val="000000"/>
                </a:solidFill>
                <a:effectLst/>
                <a:latin typeface="+mn-lt"/>
              </a:rPr>
              <a:t>64M </a:t>
            </a:r>
            <a:r>
              <a:rPr lang="en-GB" sz="1000" dirty="0">
                <a:solidFill>
                  <a:srgbClr val="000000"/>
                </a:solidFill>
                <a:effectLst/>
                <a:latin typeface="+mn-lt"/>
              </a:rPr>
              <a:t>population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rgbClr val="000000"/>
                </a:solidFill>
                <a:effectLst/>
                <a:latin typeface="+mn-lt"/>
              </a:rPr>
              <a:t>44.8% </a:t>
            </a:r>
            <a:r>
              <a:rPr lang="en-GB" sz="1000" dirty="0">
                <a:solidFill>
                  <a:srgbClr val="000000"/>
                </a:solidFill>
                <a:effectLst/>
                <a:latin typeface="+mn-lt"/>
              </a:rPr>
              <a:t>of</a:t>
            </a:r>
            <a:r>
              <a:rPr lang="en-GB" sz="1000" b="1" dirty="0">
                <a:solidFill>
                  <a:srgbClr val="000000"/>
                </a:solidFill>
                <a:effectLst/>
                <a:latin typeface="+mn-lt"/>
              </a:rPr>
              <a:t> </a:t>
            </a:r>
            <a:r>
              <a:rPr lang="en-GB" sz="1000" dirty="0">
                <a:solidFill>
                  <a:srgbClr val="000000"/>
                </a:solidFill>
                <a:effectLst/>
                <a:latin typeface="+mn-lt"/>
              </a:rPr>
              <a:t>population &lt; 14 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rgbClr val="000000"/>
                </a:solidFill>
                <a:latin typeface="+mn-lt"/>
              </a:rPr>
              <a:t>45 % </a:t>
            </a:r>
            <a:r>
              <a:rPr lang="en-GB" sz="1000" dirty="0">
                <a:solidFill>
                  <a:srgbClr val="000000"/>
                </a:solidFill>
                <a:latin typeface="+mn-lt"/>
              </a:rPr>
              <a:t>&lt; poverty line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rgbClr val="000000"/>
                </a:solidFill>
                <a:effectLst/>
                <a:latin typeface="+mn-lt"/>
              </a:rPr>
              <a:t>12</a:t>
            </a:r>
            <a:r>
              <a:rPr lang="en-GB" sz="1000" b="1" dirty="0">
                <a:solidFill>
                  <a:srgbClr val="000000"/>
                </a:solidFill>
                <a:latin typeface="+mn-lt"/>
              </a:rPr>
              <a:t>4</a:t>
            </a:r>
            <a:r>
              <a:rPr lang="en-GB" sz="1000" dirty="0">
                <a:solidFill>
                  <a:srgbClr val="000000"/>
                </a:solidFill>
                <a:latin typeface="+mn-lt"/>
              </a:rPr>
              <a:t> live births / 1000 teenagers</a:t>
            </a:r>
            <a:endParaRPr lang="en-GB" sz="1000" b="1" dirty="0">
              <a:solidFill>
                <a:srgbClr val="000000"/>
              </a:solidFill>
              <a:effectLst/>
              <a:latin typeface="+mn-lt"/>
            </a:endParaRP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rgbClr val="000000"/>
                </a:solidFill>
                <a:effectLst/>
                <a:latin typeface="+mn-lt"/>
              </a:rPr>
              <a:t>49% </a:t>
            </a:r>
            <a:r>
              <a:rPr lang="en-GB" sz="1000" dirty="0">
                <a:solidFill>
                  <a:srgbClr val="000000"/>
                </a:solidFill>
                <a:effectLst/>
                <a:latin typeface="+mn-lt"/>
              </a:rPr>
              <a:t>internet penetration 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0000"/>
                </a:solidFill>
                <a:latin typeface="+mn-lt"/>
              </a:rPr>
              <a:t>15% </a:t>
            </a:r>
            <a:r>
              <a:rPr lang="en-US" sz="1000" dirty="0">
                <a:solidFill>
                  <a:srgbClr val="000000"/>
                </a:solidFill>
                <a:latin typeface="+mn-lt"/>
              </a:rPr>
              <a:t>insured (~25% on </a:t>
            </a:r>
            <a:r>
              <a:rPr lang="en-US" sz="1000" dirty="0" err="1">
                <a:solidFill>
                  <a:srgbClr val="000000"/>
                </a:solidFill>
                <a:latin typeface="+mn-lt"/>
              </a:rPr>
              <a:t>iCHF</a:t>
            </a:r>
            <a:r>
              <a:rPr lang="en-US" sz="1000" dirty="0">
                <a:solidFill>
                  <a:srgbClr val="000000"/>
                </a:solidFill>
                <a:latin typeface="+mn-lt"/>
              </a:rPr>
              <a:t>)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+mn-lt"/>
              </a:rPr>
              <a:t>&gt;60% public healthcare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+mn-lt"/>
              </a:rPr>
              <a:t>Heavily relies on external funding &amp; OOP spending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endParaRPr lang="en-US" sz="1000" dirty="0">
              <a:solidFill>
                <a:srgbClr val="000000"/>
              </a:solidFill>
              <a:latin typeface="+mn-lt"/>
            </a:endParaRP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6763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26C26CD-0310-914A-9EC8-E8C31EF5BB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26C26CD-0310-914A-9EC8-E8C31EF5B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5FAC5DF1-738E-A40C-2DAA-0987AFA7CE19}"/>
              </a:ext>
            </a:extLst>
          </p:cNvPr>
          <p:cNvGrpSpPr/>
          <p:nvPr/>
        </p:nvGrpSpPr>
        <p:grpSpPr>
          <a:xfrm>
            <a:off x="7499705" y="739707"/>
            <a:ext cx="777935" cy="500493"/>
            <a:chOff x="7088225" y="686367"/>
            <a:chExt cx="777935" cy="500493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282869C7-4033-7F4D-BD7B-A3A5208A99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88225" y="686367"/>
              <a:ext cx="777935" cy="500493"/>
            </a:xfrm>
            <a:prstGeom prst="rect">
              <a:avLst/>
            </a:prstGeom>
          </p:spPr>
        </p:pic>
        <p:pic>
          <p:nvPicPr>
            <p:cNvPr id="40" name="Picture 2" descr="Image result for icon cell phone">
              <a:extLst>
                <a:ext uri="{FF2B5EF4-FFF2-40B4-BE49-F238E27FC236}">
                  <a16:creationId xmlns:a16="http://schemas.microsoft.com/office/drawing/2014/main" id="{4FEBAAAD-A251-104D-B156-39E6CF07247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176142" y="812112"/>
              <a:ext cx="146002" cy="277735"/>
            </a:xfrm>
            <a:prstGeom prst="rect">
              <a:avLst/>
            </a:prstGeom>
            <a:solidFill>
              <a:schemeClr val="bg1"/>
            </a:solidFill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CACBCD5E-E27C-AB4A-ABB7-44AD1D250143}"/>
              </a:ext>
            </a:extLst>
          </p:cNvPr>
          <p:cNvSpPr txBox="1"/>
          <p:nvPr/>
        </p:nvSpPr>
        <p:spPr>
          <a:xfrm>
            <a:off x="4503839" y="2070305"/>
            <a:ext cx="1376683" cy="9760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defTabSz="457189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100" b="1">
                <a:solidFill>
                  <a:srgbClr val="939598">
                    <a:lumMod val="50000"/>
                  </a:srgbClr>
                </a:solidFill>
                <a:cs typeface="+mn-cs"/>
              </a:rPr>
              <a:t>Journey tracking</a:t>
            </a:r>
          </a:p>
          <a:p>
            <a:pPr marL="92075" indent="-92075" defTabSz="457189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Transparency on quality</a:t>
            </a:r>
          </a:p>
          <a:p>
            <a:pPr marL="92075" indent="-92075" defTabSz="457189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Behavioral nudges</a:t>
            </a:r>
          </a:p>
          <a:p>
            <a:pPr marL="92075" indent="-92075" defTabSz="457189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Analytics &amp; research capabiliti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C2E1CC2-DB32-994C-AC79-F99CC89BF40E}"/>
              </a:ext>
            </a:extLst>
          </p:cNvPr>
          <p:cNvSpPr txBox="1"/>
          <p:nvPr/>
        </p:nvSpPr>
        <p:spPr>
          <a:xfrm>
            <a:off x="7506318" y="1169077"/>
            <a:ext cx="1452395" cy="8237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defTabSz="457189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100" b="1">
                <a:solidFill>
                  <a:srgbClr val="939598">
                    <a:lumMod val="50000"/>
                  </a:srgbClr>
                </a:solidFill>
                <a:cs typeface="+mn-cs"/>
              </a:rPr>
              <a:t>Quality support</a:t>
            </a:r>
          </a:p>
          <a:p>
            <a:pPr marL="92075" indent="-92075" defTabSz="457189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SafeCare standards</a:t>
            </a:r>
          </a:p>
          <a:p>
            <a:pPr marL="92075" indent="-92075" defTabSz="457189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Trainings &amp; workshops</a:t>
            </a:r>
          </a:p>
          <a:p>
            <a:pPr marL="92075" indent="-92075" defTabSz="457189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Network managemen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435E524-1EDC-864E-A5FF-AA3586559DB9}"/>
              </a:ext>
            </a:extLst>
          </p:cNvPr>
          <p:cNvSpPr txBox="1"/>
          <p:nvPr/>
        </p:nvSpPr>
        <p:spPr>
          <a:xfrm>
            <a:off x="6968746" y="3615456"/>
            <a:ext cx="1694497" cy="9760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defTabSz="457189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100" b="1">
                <a:solidFill>
                  <a:srgbClr val="939598">
                    <a:lumMod val="50000"/>
                  </a:srgbClr>
                </a:solidFill>
                <a:cs typeface="+mn-cs"/>
              </a:rPr>
              <a:t>Mobile wallet</a:t>
            </a:r>
          </a:p>
          <a:p>
            <a:pPr marL="92075" indent="-92075" defTabSz="457189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Financial coverage</a:t>
            </a:r>
          </a:p>
          <a:p>
            <a:pPr marL="92075" indent="-92075" defTabSz="457189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Conditional payments for providers (“smart contracts”)</a:t>
            </a:r>
          </a:p>
          <a:p>
            <a:pPr marL="92075" indent="-92075" defTabSz="457189">
              <a:lnSpc>
                <a:spcPct val="110000"/>
              </a:lnSpc>
              <a:spcBef>
                <a:spcPts val="312"/>
              </a:spcBef>
              <a:buFontTx/>
              <a:buChar char="-"/>
              <a:defRPr/>
            </a:pPr>
            <a:r>
              <a:rPr lang="en-US" sz="900">
                <a:solidFill>
                  <a:srgbClr val="939598">
                    <a:lumMod val="50000"/>
                  </a:srgbClr>
                </a:solidFill>
                <a:cs typeface="+mn-cs"/>
              </a:rPr>
              <a:t>Timely paym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4BEB075-47E3-134B-9852-1D5968D3D3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>
                <a:latin typeface="+mn-lt"/>
              </a:rPr>
              <a:t>MomCare</a:t>
            </a:r>
            <a:r>
              <a:rPr lang="en-US" dirty="0">
                <a:latin typeface="+mn-lt"/>
              </a:rPr>
              <a:t> is a care bundle powered by mobile communication, quality support, and innovative financing features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12D1C8F-2A0E-BD42-8A5C-4F7E19CC6A98}"/>
              </a:ext>
            </a:extLst>
          </p:cNvPr>
          <p:cNvSpPr txBox="1"/>
          <p:nvPr/>
        </p:nvSpPr>
        <p:spPr>
          <a:xfrm>
            <a:off x="80087" y="1181824"/>
            <a:ext cx="3281619" cy="2363724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defTabSz="457189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600" b="1">
                <a:solidFill>
                  <a:srgbClr val="00558F"/>
                </a:solidFill>
                <a:cs typeface="+mn-cs"/>
              </a:rPr>
              <a:t>A care bundle:</a:t>
            </a:r>
            <a:endParaRPr lang="en-US" sz="1100" b="1">
              <a:solidFill>
                <a:srgbClr val="00558F"/>
              </a:solidFill>
              <a:cs typeface="+mn-cs"/>
            </a:endParaRPr>
          </a:p>
          <a:p>
            <a:pPr defTabSz="457189">
              <a:lnSpc>
                <a:spcPct val="110000"/>
              </a:lnSpc>
              <a:spcBef>
                <a:spcPts val="312"/>
              </a:spcBef>
              <a:defRPr/>
            </a:pPr>
            <a:r>
              <a:rPr lang="en-US" sz="1200" b="1">
                <a:solidFill>
                  <a:srgbClr val="00558F"/>
                </a:solidFill>
                <a:cs typeface="+mn-cs"/>
              </a:rPr>
              <a:t>“A set of interventions that – used together – significantly improves health outcomes”</a:t>
            </a:r>
          </a:p>
          <a:p>
            <a:pPr defTabSz="457189">
              <a:lnSpc>
                <a:spcPct val="110000"/>
              </a:lnSpc>
              <a:spcBef>
                <a:spcPts val="312"/>
              </a:spcBef>
              <a:defRPr/>
            </a:pPr>
            <a:endParaRPr lang="en-US" sz="1100" b="1">
              <a:solidFill>
                <a:srgbClr val="00558F"/>
              </a:solidFill>
              <a:cs typeface="+mn-cs"/>
            </a:endParaRPr>
          </a:p>
          <a:p>
            <a:pPr defTabSz="457189"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200" b="1">
                <a:solidFill>
                  <a:srgbClr val="00558F"/>
                </a:solidFill>
                <a:cs typeface="+mn-cs"/>
              </a:rPr>
              <a:t>Key principles of digital development</a:t>
            </a:r>
            <a:endParaRPr lang="en-US" sz="1200">
              <a:solidFill>
                <a:srgbClr val="00558F"/>
              </a:solidFill>
              <a:cs typeface="+mn-cs"/>
            </a:endParaRPr>
          </a:p>
          <a:p>
            <a:pPr marL="284163" indent="-192088" defTabSz="457189">
              <a:spcBef>
                <a:spcPts val="0"/>
              </a:spcBef>
              <a:spcAft>
                <a:spcPts val="900"/>
              </a:spcAft>
              <a:buFont typeface="Wingdings" pitchFamily="2" charset="2"/>
              <a:buChar char="Ø"/>
              <a:defRPr/>
            </a:pPr>
            <a:r>
              <a:rPr lang="en-US" sz="1100">
                <a:solidFill>
                  <a:srgbClr val="00558F"/>
                </a:solidFill>
                <a:cs typeface="+mn-cs"/>
              </a:rPr>
              <a:t>Focusing on </a:t>
            </a:r>
            <a:r>
              <a:rPr lang="en-US" sz="1100" b="1">
                <a:solidFill>
                  <a:srgbClr val="00558F"/>
                </a:solidFill>
                <a:cs typeface="+mn-cs"/>
              </a:rPr>
              <a:t>patient outcomes</a:t>
            </a:r>
          </a:p>
          <a:p>
            <a:pPr marL="284163" indent="-192088" defTabSz="457189">
              <a:spcBef>
                <a:spcPts val="0"/>
              </a:spcBef>
              <a:spcAft>
                <a:spcPts val="900"/>
              </a:spcAft>
              <a:buFont typeface="Wingdings" pitchFamily="2" charset="2"/>
              <a:buChar char="Ø"/>
              <a:defRPr/>
            </a:pPr>
            <a:r>
              <a:rPr lang="en-US" sz="1100">
                <a:solidFill>
                  <a:srgbClr val="00558F"/>
                </a:solidFill>
                <a:cs typeface="+mn-cs"/>
              </a:rPr>
              <a:t>Starting with a minimum viable product, using a </a:t>
            </a:r>
            <a:r>
              <a:rPr lang="en-US" sz="1100" b="1">
                <a:solidFill>
                  <a:srgbClr val="00558F"/>
                </a:solidFill>
                <a:cs typeface="+mn-cs"/>
              </a:rPr>
              <a:t>progressive development </a:t>
            </a:r>
            <a:r>
              <a:rPr lang="en-US" sz="1100">
                <a:solidFill>
                  <a:srgbClr val="00558F"/>
                </a:solidFill>
                <a:cs typeface="+mn-cs"/>
              </a:rPr>
              <a:t>approach over time</a:t>
            </a:r>
          </a:p>
          <a:p>
            <a:pPr marL="284163" indent="-192088" defTabSz="457189">
              <a:spcBef>
                <a:spcPts val="0"/>
              </a:spcBef>
              <a:spcAft>
                <a:spcPts val="900"/>
              </a:spcAft>
              <a:buFont typeface="Wingdings" pitchFamily="2" charset="2"/>
              <a:buChar char="Ø"/>
              <a:defRPr/>
            </a:pPr>
            <a:r>
              <a:rPr lang="en-US" sz="1100" b="1">
                <a:solidFill>
                  <a:srgbClr val="00558F"/>
                </a:solidFill>
                <a:cs typeface="+mn-cs"/>
              </a:rPr>
              <a:t>Using evidence </a:t>
            </a:r>
            <a:r>
              <a:rPr lang="en-US" sz="1100">
                <a:solidFill>
                  <a:srgbClr val="00558F"/>
                </a:solidFill>
                <a:cs typeface="+mn-cs"/>
              </a:rPr>
              <a:t>from data to prioritize and shape the development path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44ABDBB-24B1-144D-9AA8-E85E4AF7F8EB}"/>
              </a:ext>
            </a:extLst>
          </p:cNvPr>
          <p:cNvGrpSpPr/>
          <p:nvPr/>
        </p:nvGrpSpPr>
        <p:grpSpPr>
          <a:xfrm>
            <a:off x="5786008" y="1679759"/>
            <a:ext cx="2269980" cy="2119010"/>
            <a:chOff x="5591094" y="1827782"/>
            <a:chExt cx="2269980" cy="2119010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066B94C0-3196-BD4B-9F53-99F36DF80B69}"/>
                </a:ext>
              </a:extLst>
            </p:cNvPr>
            <p:cNvGrpSpPr/>
            <p:nvPr/>
          </p:nvGrpSpPr>
          <p:grpSpPr>
            <a:xfrm>
              <a:off x="5591094" y="1827782"/>
              <a:ext cx="2269980" cy="2119010"/>
              <a:chOff x="6193324" y="2064142"/>
              <a:chExt cx="1605391" cy="1574769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DB90D03-6837-024E-B7C9-15934B642010}"/>
                  </a:ext>
                </a:extLst>
              </p:cNvPr>
              <p:cNvGrpSpPr/>
              <p:nvPr/>
            </p:nvGrpSpPr>
            <p:grpSpPr>
              <a:xfrm>
                <a:off x="6302327" y="2166424"/>
                <a:ext cx="1358453" cy="1347700"/>
                <a:chOff x="720090" y="626071"/>
                <a:chExt cx="4485877" cy="4217880"/>
              </a:xfrm>
            </p:grpSpPr>
            <p:grpSp>
              <p:nvGrpSpPr>
                <p:cNvPr id="27" name="Group 26">
                  <a:extLst>
                    <a:ext uri="{FF2B5EF4-FFF2-40B4-BE49-F238E27FC236}">
                      <a16:creationId xmlns:a16="http://schemas.microsoft.com/office/drawing/2014/main" id="{2D157EAE-0BA7-1B41-95E4-C20FCF356602}"/>
                    </a:ext>
                  </a:extLst>
                </p:cNvPr>
                <p:cNvGrpSpPr/>
                <p:nvPr/>
              </p:nvGrpSpPr>
              <p:grpSpPr>
                <a:xfrm>
                  <a:off x="729210" y="626071"/>
                  <a:ext cx="4476757" cy="4217880"/>
                  <a:chOff x="3049190" y="519504"/>
                  <a:chExt cx="4476757" cy="4217880"/>
                </a:xfrm>
              </p:grpSpPr>
              <p:sp>
                <p:nvSpPr>
                  <p:cNvPr id="31" name="Partial Circle 3">
                    <a:extLst>
                      <a:ext uri="{FF2B5EF4-FFF2-40B4-BE49-F238E27FC236}">
                        <a16:creationId xmlns:a16="http://schemas.microsoft.com/office/drawing/2014/main" id="{BB787B03-E121-164A-8994-239498055693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183391" y="394828"/>
                    <a:ext cx="4217880" cy="4467231"/>
                  </a:xfrm>
                  <a:prstGeom prst="pie">
                    <a:avLst>
                      <a:gd name="adj1" fmla="val 5355983"/>
                      <a:gd name="adj2" fmla="val 16200000"/>
                    </a:avLst>
                  </a:prstGeom>
                  <a:solidFill>
                    <a:srgbClr val="108075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9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32" name="Partial Circle 2">
                    <a:extLst>
                      <a:ext uri="{FF2B5EF4-FFF2-40B4-BE49-F238E27FC236}">
                        <a16:creationId xmlns:a16="http://schemas.microsoft.com/office/drawing/2014/main" id="{49585362-A92A-C54B-A333-B8560045DFCE}"/>
                      </a:ext>
                    </a:extLst>
                  </p:cNvPr>
                  <p:cNvSpPr/>
                  <p:nvPr/>
                </p:nvSpPr>
                <p:spPr>
                  <a:xfrm>
                    <a:off x="3049190" y="524638"/>
                    <a:ext cx="4476757" cy="4099359"/>
                  </a:xfrm>
                  <a:prstGeom prst="pie">
                    <a:avLst>
                      <a:gd name="adj1" fmla="val 15275"/>
                      <a:gd name="adj2" fmla="val 10835233"/>
                    </a:avLst>
                  </a:prstGeom>
                  <a:solidFill>
                    <a:srgbClr val="286839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9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</p:grpSp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704C6A34-CB56-CC44-BA29-ED11B0B0A3CC}"/>
                    </a:ext>
                  </a:extLst>
                </p:cNvPr>
                <p:cNvGrpSpPr/>
                <p:nvPr/>
              </p:nvGrpSpPr>
              <p:grpSpPr>
                <a:xfrm>
                  <a:off x="720090" y="1556771"/>
                  <a:ext cx="2514603" cy="2204357"/>
                  <a:chOff x="1555008" y="1243180"/>
                  <a:chExt cx="2849516" cy="2307236"/>
                </a:xfrm>
              </p:grpSpPr>
              <p:sp>
                <p:nvSpPr>
                  <p:cNvPr id="29" name="Partial Circle 17">
                    <a:extLst>
                      <a:ext uri="{FF2B5EF4-FFF2-40B4-BE49-F238E27FC236}">
                        <a16:creationId xmlns:a16="http://schemas.microsoft.com/office/drawing/2014/main" id="{CC263DCC-DCE9-264E-B37D-7D7584AAE0B1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867401" y="1013295"/>
                    <a:ext cx="2226046" cy="2848195"/>
                  </a:xfrm>
                  <a:prstGeom prst="pie">
                    <a:avLst>
                      <a:gd name="adj1" fmla="val 5368530"/>
                      <a:gd name="adj2" fmla="val 16200000"/>
                    </a:avLst>
                  </a:prstGeom>
                  <a:solidFill>
                    <a:srgbClr val="6CC3FF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9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30" name="Partial Circle 16">
                    <a:extLst>
                      <a:ext uri="{FF2B5EF4-FFF2-40B4-BE49-F238E27FC236}">
                        <a16:creationId xmlns:a16="http://schemas.microsoft.com/office/drawing/2014/main" id="{E8458C16-B33F-8C4C-BC3C-012947D89667}"/>
                      </a:ext>
                    </a:extLst>
                  </p:cNvPr>
                  <p:cNvSpPr/>
                  <p:nvPr/>
                </p:nvSpPr>
                <p:spPr>
                  <a:xfrm>
                    <a:off x="1555008" y="1243180"/>
                    <a:ext cx="2849516" cy="2304903"/>
                  </a:xfrm>
                  <a:prstGeom prst="pie">
                    <a:avLst>
                      <a:gd name="adj1" fmla="val 25657"/>
                      <a:gd name="adj2" fmla="val 10763870"/>
                    </a:avLst>
                  </a:prstGeom>
                  <a:solidFill>
                    <a:srgbClr val="0070C0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algn="ctr" defTabSz="457189">
                      <a:defRPr/>
                    </a:pPr>
                    <a:endParaRPr lang="en-GB" sz="1600">
                      <a:solidFill>
                        <a:srgbClr val="00558F"/>
                      </a:solidFill>
                      <a:latin typeface="Calibri"/>
                    </a:endParaRPr>
                  </a:p>
                </p:txBody>
              </p:sp>
            </p:grpSp>
          </p:grpSp>
          <p:sp>
            <p:nvSpPr>
              <p:cNvPr id="53" name="Arc 52">
                <a:extLst>
                  <a:ext uri="{FF2B5EF4-FFF2-40B4-BE49-F238E27FC236}">
                    <a16:creationId xmlns:a16="http://schemas.microsoft.com/office/drawing/2014/main" id="{74B169A7-9E08-7842-9EAF-22C8CE118041}"/>
                  </a:ext>
                </a:extLst>
              </p:cNvPr>
              <p:cNvSpPr/>
              <p:nvPr/>
            </p:nvSpPr>
            <p:spPr>
              <a:xfrm rot="18403846">
                <a:off x="6201819" y="2059152"/>
                <a:ext cx="1546943" cy="1556924"/>
              </a:xfrm>
              <a:prstGeom prst="arc">
                <a:avLst>
                  <a:gd name="adj1" fmla="val 15991943"/>
                  <a:gd name="adj2" fmla="val 20033815"/>
                </a:avLst>
              </a:prstGeom>
              <a:ln w="34925">
                <a:solidFill>
                  <a:schemeClr val="bg1">
                    <a:lumMod val="50000"/>
                  </a:schemeClr>
                </a:solidFill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>
                  <a:solidFill>
                    <a:srgbClr val="00558F"/>
                  </a:solidFill>
                  <a:latin typeface="Calibri"/>
                </a:endParaRPr>
              </a:p>
            </p:txBody>
          </p:sp>
          <p:sp>
            <p:nvSpPr>
              <p:cNvPr id="54" name="Arc 53">
                <a:extLst>
                  <a:ext uri="{FF2B5EF4-FFF2-40B4-BE49-F238E27FC236}">
                    <a16:creationId xmlns:a16="http://schemas.microsoft.com/office/drawing/2014/main" id="{1AAAB508-5ECE-BC4F-B779-136F7BF7C7D4}"/>
                  </a:ext>
                </a:extLst>
              </p:cNvPr>
              <p:cNvSpPr/>
              <p:nvPr/>
            </p:nvSpPr>
            <p:spPr>
              <a:xfrm rot="14192440" flipH="1" flipV="1">
                <a:off x="6246781" y="2086978"/>
                <a:ext cx="1546943" cy="1556924"/>
              </a:xfrm>
              <a:prstGeom prst="arc">
                <a:avLst>
                  <a:gd name="adj1" fmla="val 16197708"/>
                  <a:gd name="adj2" fmla="val 20244057"/>
                </a:avLst>
              </a:prstGeom>
              <a:ln w="34925">
                <a:solidFill>
                  <a:schemeClr val="bg1">
                    <a:lumMod val="50000"/>
                  </a:schemeClr>
                </a:solidFill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>
                  <a:solidFill>
                    <a:srgbClr val="00558F"/>
                  </a:solidFill>
                  <a:latin typeface="Calibri"/>
                </a:endParaRPr>
              </a:p>
            </p:txBody>
          </p:sp>
          <p:sp>
            <p:nvSpPr>
              <p:cNvPr id="55" name="Arc 54">
                <a:extLst>
                  <a:ext uri="{FF2B5EF4-FFF2-40B4-BE49-F238E27FC236}">
                    <a16:creationId xmlns:a16="http://schemas.microsoft.com/office/drawing/2014/main" id="{89BB2B9B-7A8F-ED4B-8B35-F51E85ABD29A}"/>
                  </a:ext>
                </a:extLst>
              </p:cNvPr>
              <p:cNvSpPr/>
              <p:nvPr/>
            </p:nvSpPr>
            <p:spPr>
              <a:xfrm rot="10989174">
                <a:off x="6193324" y="2078028"/>
                <a:ext cx="1546943" cy="1556924"/>
              </a:xfrm>
              <a:prstGeom prst="arc">
                <a:avLst>
                  <a:gd name="adj1" fmla="val 16902944"/>
                  <a:gd name="adj2" fmla="val 20381200"/>
                </a:avLst>
              </a:prstGeom>
              <a:ln w="34925">
                <a:solidFill>
                  <a:schemeClr val="bg1">
                    <a:lumMod val="50000"/>
                  </a:schemeClr>
                </a:solidFill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>
                  <a:solidFill>
                    <a:srgbClr val="00558F"/>
                  </a:solidFill>
                  <a:latin typeface="Calibri"/>
                </a:endParaRPr>
              </a:p>
            </p:txBody>
          </p:sp>
        </p:grp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69F06F4C-3B0E-654D-9E55-32E28F509B18}"/>
                </a:ext>
              </a:extLst>
            </p:cNvPr>
            <p:cNvSpPr/>
            <p:nvPr/>
          </p:nvSpPr>
          <p:spPr>
            <a:xfrm>
              <a:off x="5882671" y="2576170"/>
              <a:ext cx="847408" cy="19381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9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Clinical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82E3D17-AAB1-9A4C-87C1-8C03D207D190}"/>
                </a:ext>
              </a:extLst>
            </p:cNvPr>
            <p:cNvSpPr/>
            <p:nvPr/>
          </p:nvSpPr>
          <p:spPr>
            <a:xfrm>
              <a:off x="5889562" y="2944187"/>
              <a:ext cx="847408" cy="19381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9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Experience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67B75EC1-3CFD-0545-A60A-CC80402D6ABD}"/>
                </a:ext>
              </a:extLst>
            </p:cNvPr>
            <p:cNvSpPr/>
            <p:nvPr/>
          </p:nvSpPr>
          <p:spPr>
            <a:xfrm>
              <a:off x="6625321" y="3276023"/>
              <a:ext cx="759516" cy="17371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9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Economic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50E1FD65-D7D0-4C47-B1F0-D6393B03502A}"/>
                </a:ext>
              </a:extLst>
            </p:cNvPr>
            <p:cNvSpPr/>
            <p:nvPr/>
          </p:nvSpPr>
          <p:spPr>
            <a:xfrm>
              <a:off x="6611377" y="2256519"/>
              <a:ext cx="720136" cy="27168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457189">
                <a:defRPr/>
              </a:pP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Quality &amp; </a:t>
              </a:r>
              <a:br>
                <a:rPr lang="en-GB" sz="1000" b="1">
                  <a:solidFill>
                    <a:srgbClr val="FFFFFF"/>
                  </a:solidFill>
                  <a:latin typeface="Calibri"/>
                </a:rPr>
              </a:br>
              <a:r>
                <a:rPr lang="en-GB" sz="1000" b="1">
                  <a:solidFill>
                    <a:srgbClr val="FFFFFF"/>
                  </a:solidFill>
                  <a:latin typeface="Calibri"/>
                </a:rPr>
                <a:t>Access</a:t>
              </a:r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1F67EFA8-BFD6-3749-9FE8-EAA97BB1B889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5645" y="1602882"/>
            <a:ext cx="446155" cy="400783"/>
          </a:xfrm>
          <a:prstGeom prst="rect">
            <a:avLst/>
          </a:prstGeom>
        </p:spPr>
      </p:pic>
      <p:pic>
        <p:nvPicPr>
          <p:cNvPr id="38" name="Picture 2" descr="Image result for icon cell phone">
            <a:extLst>
              <a:ext uri="{FF2B5EF4-FFF2-40B4-BE49-F238E27FC236}">
                <a16:creationId xmlns:a16="http://schemas.microsoft.com/office/drawing/2014/main" id="{67E30D0B-5AEF-044F-A12D-5087166F29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03008" y="1570599"/>
            <a:ext cx="198439" cy="433065"/>
          </a:xfrm>
          <a:prstGeom prst="rect">
            <a:avLst/>
          </a:prstGeom>
          <a:solidFill>
            <a:schemeClr val="bg1"/>
          </a:solidFill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1DD3A9E2-F83C-984D-B443-0A8F4F76EAF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264012" y="3074907"/>
            <a:ext cx="266180" cy="453615"/>
          </a:xfrm>
          <a:prstGeom prst="rect">
            <a:avLst/>
          </a:prstGeom>
        </p:spPr>
      </p:pic>
      <p:pic>
        <p:nvPicPr>
          <p:cNvPr id="42" name="Picture 2" descr="Image result for icon cell phone">
            <a:extLst>
              <a:ext uri="{FF2B5EF4-FFF2-40B4-BE49-F238E27FC236}">
                <a16:creationId xmlns:a16="http://schemas.microsoft.com/office/drawing/2014/main" id="{D4AA937F-82A9-D042-A1D9-BF5325A503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05368" y="3013203"/>
            <a:ext cx="155532" cy="302261"/>
          </a:xfrm>
          <a:prstGeom prst="rect">
            <a:avLst/>
          </a:prstGeom>
          <a:solidFill>
            <a:schemeClr val="bg1"/>
          </a:solidFill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riangle 42">
            <a:extLst>
              <a:ext uri="{FF2B5EF4-FFF2-40B4-BE49-F238E27FC236}">
                <a16:creationId xmlns:a16="http://schemas.microsoft.com/office/drawing/2014/main" id="{F3B64FF8-A091-8A41-B561-8D10E70A2693}"/>
              </a:ext>
            </a:extLst>
          </p:cNvPr>
          <p:cNvSpPr/>
          <p:nvPr/>
        </p:nvSpPr>
        <p:spPr>
          <a:xfrm rot="5400000">
            <a:off x="2867263" y="2301978"/>
            <a:ext cx="2104089" cy="446155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189">
              <a:defRPr/>
            </a:pPr>
            <a:endParaRPr lang="en-US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F2C3378A-7481-2487-454A-AFF84E98E4C3}"/>
              </a:ext>
            </a:extLst>
          </p:cNvPr>
          <p:cNvSpPr txBox="1">
            <a:spLocks/>
          </p:cNvSpPr>
          <p:nvPr/>
        </p:nvSpPr>
        <p:spPr>
          <a:xfrm>
            <a:off x="8601076" y="4791075"/>
            <a:ext cx="431010" cy="25542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algn="r" defTabSz="188856">
              <a:defRPr sz="1000" b="1"/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fld id="{9C24207B-2825-1344-BA70-0110A4EF1B0C}" type="slidenum">
              <a:rPr lang="en-GB"/>
              <a:pPr/>
              <a:t>9</a:t>
            </a:fld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6FA9726-7DE1-C62F-A3E0-D000BC8B9E02}"/>
              </a:ext>
            </a:extLst>
          </p:cNvPr>
          <p:cNvSpPr txBox="1"/>
          <p:nvPr/>
        </p:nvSpPr>
        <p:spPr>
          <a:xfrm>
            <a:off x="7579547" y="412450"/>
            <a:ext cx="1679510" cy="303481"/>
          </a:xfrm>
          <a:prstGeom prst="rect">
            <a:avLst/>
          </a:prstGeom>
          <a:solidFill>
            <a:schemeClr val="accent6"/>
          </a:solidFill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sz="1600"/>
              <a:t>Done</a:t>
            </a:r>
          </a:p>
        </p:txBody>
      </p:sp>
    </p:spTree>
    <p:extLst>
      <p:ext uri="{BB962C8B-B14F-4D97-AF65-F5344CB8AC3E}">
        <p14:creationId xmlns:p14="http://schemas.microsoft.com/office/powerpoint/2010/main" val="1664828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30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b95dpKEQVa7FrY8M08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oSFDKXE9Rbp42PeFCm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4RANQ4ROOewvJpI2f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QoSPDpNfD7.i5YHf2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Bgt3ZZBjql88Z5ZVeU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b95dpKEQVa7FrY8M08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oSFDKXE9Rbp42PeFCm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4RANQ4ROOewvJpI2f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QoSPDpNfD7.i5YHf2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NUjDmxQg2_GAXO7QX9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NUjDmxQg2_GAXO7QX9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PUMM58IPHfqmDZgKr0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apqkyu.aWIafD.7sZ81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dJG1j99.nHN7L.fDYa_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vRZG9imjX1YiacUcWt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ztr8Dx2XW7f15q.lNaM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.5uuQG35aAq0AwS02Qi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V6jzDLgdzGTMoNzuF_h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dqbFhCSextB5q27k2rt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vBhZXEOKwzK74sF8M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qYais_q6IqoVV3Pzk1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CnGLDZwr_ASpvfvMYY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2ouqgYIximbqdrXmFu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sv.LOJ4ZOTh6N3ZdEU5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2XZbJM0qhfc_EQ56Z19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pVkMkB8c6lzLU2KSzl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PygDsIsktZ7jZJF9L_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bl0PYnY8RMgDK5fPp3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vRCewND.331.tcYEIZ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1Hg0P5GmqTMhgRtN5V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BgigQQrSEWsgLL8bz1o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ASJ7cMtCToYymBQ_kM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3Kd9UOdbov89e2xi60B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guzUZ2YsBFxZIShxyeu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nK0nQr_J2M8whRiErG5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fuU94gD4V1_aegx_Xi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lfUhvB7TIAuWND8nWz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DBf7zKJFpFqB9kPooE8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FQMm1Y1KJNPzDcEkgj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Ju3hAMRSsIIMyRsuOa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adB1hxGm8XsLbJtpudx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0bV8RoGOBMIkJOtoZf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K2tQXd4.MChOoagDN5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RHiYDpIdlQeMLE1inOK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Ud_KznFnxZGbqYT4wLU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uhzxbUuPUogQD7CGmkq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3t6pqqwwXv3yvqeEGui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Wu1rAdyS6jVck07hZI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wh9x0G_devy8vzEbKb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bVrr9M08MDBp7x8fcu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9J0vDRUGekgWYTOH6F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HtlwH6sScMX1SM0l46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P.6BY1ilZun7pGYA4XT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WzGkfpmZJVkxti2QcKb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1VQOA4QHCJPfjLA0HFF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aTcEEr5YJ717CDhgHj.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sEPqEnOF.afTMClTuFc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cyJrlbiddNYf1jSRprm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H.KPCXMFpEhX7uZz1S3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QKF7yoFo0KAJ70LdMMD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bnYFBZQ_fGcXZNPx0TU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oCKOjb8UUN7GO3Qshac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UttCNMqUbGXMUBgf6O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BCA1241_7AEF_47F6_8425_34E1BE411A39&quot;,&quot;SourceFullName&quot;:&quot;https://pharmaccess.sharepoint.com/sites/momcareteam/Shared Documents/General/MomCare Presentations/20230315 Results Summary.xlsx&quot;,&quot;LastUpdate&quot;:&quot;2023-03-22 3:03 PM&quot;,&quot;UpdatedBy&quot;:&quot;Fatih Cakmak&quot;,&quot;IsLinked&quot;:false,&quot;IsBrokenLink&quot;:true,&quot;Type&quot;:1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P.6BY1ilZun7pGYA4XT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_loZLWlT3WyOdUz7jqUQ"/>
</p:tagLst>
</file>

<file path=ppt/theme/theme1.xml><?xml version="1.0" encoding="utf-8"?>
<a:theme xmlns:a="http://schemas.openxmlformats.org/drawingml/2006/main" name="Office Theme">
  <a:themeElements>
    <a:clrScheme name="Custom 364">
      <a:dk1>
        <a:srgbClr val="00558F"/>
      </a:dk1>
      <a:lt1>
        <a:srgbClr val="FFFFFF"/>
      </a:lt1>
      <a:dk2>
        <a:srgbClr val="70A4D8"/>
      </a:dk2>
      <a:lt2>
        <a:srgbClr val="EEECE1"/>
      </a:lt2>
      <a:accent1>
        <a:srgbClr val="00558F"/>
      </a:accent1>
      <a:accent2>
        <a:srgbClr val="70A4D8"/>
      </a:accent2>
      <a:accent3>
        <a:srgbClr val="D71920"/>
      </a:accent3>
      <a:accent4>
        <a:srgbClr val="939598"/>
      </a:accent4>
      <a:accent5>
        <a:srgbClr val="E9C31E"/>
      </a:accent5>
      <a:accent6>
        <a:srgbClr val="8AB27B"/>
      </a:accent6>
      <a:hlink>
        <a:srgbClr val="D71920"/>
      </a:hlink>
      <a:folHlink>
        <a:srgbClr val="D7192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 anchorCtr="0"/>
      <a:lstStyle>
        <a:defPPr algn="l">
          <a:defRPr sz="1100" b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0" rtlCol="0">
        <a:spAutoFit/>
      </a:bodyPr>
      <a:lstStyle>
        <a:defPPr>
          <a:lnSpc>
            <a:spcPct val="110000"/>
          </a:lnSpc>
          <a:spcBef>
            <a:spcPts val="312"/>
          </a:spcBef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92EBD600782748B6772AF546ED85FB" ma:contentTypeVersion="5" ma:contentTypeDescription="Create a new document." ma:contentTypeScope="" ma:versionID="4b6d95b69b7cd0e45dbfaf59575ce96a">
  <xsd:schema xmlns:xsd="http://www.w3.org/2001/XMLSchema" xmlns:xs="http://www.w3.org/2001/XMLSchema" xmlns:p="http://schemas.microsoft.com/office/2006/metadata/properties" xmlns:ns2="14fdd927-423d-4218-bbce-4d4c64f60d02" xmlns:ns3="84f8c079-666c-421a-b41c-c27457272f21" targetNamespace="http://schemas.microsoft.com/office/2006/metadata/properties" ma:root="true" ma:fieldsID="f2673af0ec9d2f97cdf40b7d00fbf543" ns2:_="" ns3:_="">
    <xsd:import namespace="14fdd927-423d-4218-bbce-4d4c64f60d02"/>
    <xsd:import namespace="84f8c079-666c-421a-b41c-c27457272f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fdd927-423d-4218-bbce-4d4c64f60d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f8c079-666c-421a-b41c-c27457272f2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4f8c079-666c-421a-b41c-c27457272f21">
      <UserInfo>
        <DisplayName>Mark van der Graaf</DisplayName>
        <AccountId>14</AccountId>
        <AccountType/>
      </UserInfo>
      <UserInfo>
        <DisplayName>Judith van Andel</DisplayName>
        <AccountId>15</AccountId>
        <AccountType/>
      </UserInfo>
      <UserInfo>
        <DisplayName>Julie Fleischer</DisplayName>
        <AccountId>16</AccountId>
        <AccountType/>
      </UserInfo>
      <UserInfo>
        <DisplayName>Femke Heddema</DisplayName>
        <AccountId>1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ADF5E12A-8692-4978-9D76-1CDF3965704E}">
  <ds:schemaRefs>
    <ds:schemaRef ds:uri="14fdd927-423d-4218-bbce-4d4c64f60d02"/>
    <ds:schemaRef ds:uri="84f8c079-666c-421a-b41c-c27457272f2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1AD2AC3-7388-4188-AC15-509795DF3E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1F4E6B-9BEF-4CC1-AC61-5EFF4F2F6B75}">
  <ds:schemaRefs>
    <ds:schemaRef ds:uri="http://purl.org/dc/terms/"/>
    <ds:schemaRef ds:uri="http://www.w3.org/XML/1998/namespace"/>
    <ds:schemaRef ds:uri="http://purl.org/dc/dcmitype/"/>
    <ds:schemaRef ds:uri="http://schemas.microsoft.com/office/2006/documentManagement/types"/>
    <ds:schemaRef ds:uri="http://purl.org/dc/elements/1.1/"/>
    <ds:schemaRef ds:uri="14fdd927-423d-4218-bbce-4d4c64f60d02"/>
    <ds:schemaRef ds:uri="http://schemas.microsoft.com/office/infopath/2007/PartnerControls"/>
    <ds:schemaRef ds:uri="http://schemas.openxmlformats.org/package/2006/metadata/core-properties"/>
    <ds:schemaRef ds:uri="84f8c079-666c-421a-b41c-c27457272f21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2128</Words>
  <Application>Microsoft Macintosh PowerPoint</Application>
  <PresentationFormat>On-screen Show (16:9)</PresentationFormat>
  <Paragraphs>468</Paragraphs>
  <Slides>2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Calibri</vt:lpstr>
      <vt:lpstr>Franklin Gothic Medium</vt:lpstr>
      <vt:lpstr>MuseoSans</vt:lpstr>
      <vt:lpstr>TimesNewRomanPSMT</vt:lpstr>
      <vt:lpstr>Wingdings</vt:lpstr>
      <vt:lpstr>Office Theme</vt:lpstr>
      <vt:lpstr>think-cell Slide</vt:lpstr>
      <vt:lpstr>PowerPoint Presentation</vt:lpstr>
      <vt:lpstr>Today</vt:lpstr>
      <vt:lpstr>Maternal and neonatal health is a critical area of need in Africa with a high mortality rate and several challenges to realizing universal healthcare </vt:lpstr>
      <vt:lpstr>In (maternity) care in LMICs, there are several behavioral, organizational, and financial barriers affecting both women and healthcare providers </vt:lpstr>
      <vt:lpstr>PowerPoint Presentation</vt:lpstr>
      <vt:lpstr>PowerPoint Presentation</vt:lpstr>
      <vt:lpstr>MomCare Overview</vt:lpstr>
      <vt:lpstr>PowerPoint Presentation</vt:lpstr>
      <vt:lpstr>MomCare is a care bundle powered by mobile communication, quality support, and innovative financing features </vt:lpstr>
      <vt:lpstr>MomCare is a cohort-based VBC program that allows for iterative improvements</vt:lpstr>
      <vt:lpstr>MomCare ‘mobile journey tracking’ capability covering the complete journey supports the key components of MomCare  </vt:lpstr>
      <vt:lpstr>MomCare implements innovative financing mechanisms gradually moving  from fee-for-service to value-based care models</vt:lpstr>
      <vt:lpstr>We observe improved adherence to ANC care as the clinics continue to participate in the program</vt:lpstr>
      <vt:lpstr>MomCare leads to better value with increased care utilization at only limited additional cost </vt:lpstr>
      <vt:lpstr>Segmentation in MomCare</vt:lpstr>
      <vt:lpstr>Socio-economic characteristics of mothers in MomCare Kenya </vt:lpstr>
      <vt:lpstr>Existing comorbidities are distributed differently across the subgroups</vt:lpstr>
      <vt:lpstr>Outcomes vary between subgroups</vt:lpstr>
      <vt:lpstr>Low-Risk Mothers</vt:lpstr>
      <vt:lpstr>High-Risk Mothers</vt:lpstr>
      <vt:lpstr>MomCare digital tools support medical staff for high-risk mothers</vt:lpstr>
      <vt:lpstr>Mothers at risk for perinatal depression</vt:lpstr>
      <vt:lpstr>Teenage Mothers (&lt;19)</vt:lpstr>
      <vt:lpstr>Next Steps</vt:lpstr>
      <vt:lpstr>PowerPoint Presentation</vt:lpstr>
      <vt:lpstr>Questions?</vt:lpstr>
    </vt:vector>
  </TitlesOfParts>
  <Manager/>
  <Company>Laik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Remco Homberg</dc:creator>
  <cp:keywords/>
  <dc:description/>
  <cp:lastModifiedBy>Julie Fleischer</cp:lastModifiedBy>
  <cp:revision>3</cp:revision>
  <cp:lastPrinted>2019-08-13T12:17:10Z</cp:lastPrinted>
  <dcterms:created xsi:type="dcterms:W3CDTF">2018-11-13T11:51:30Z</dcterms:created>
  <dcterms:modified xsi:type="dcterms:W3CDTF">2023-05-01T12:54:5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9F92EBD600782748B6772AF546ED85FB</vt:lpwstr>
  </property>
</Properties>
</file>